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7"/>
  </p:notesMasterIdLst>
  <p:sldIdLst>
    <p:sldId id="265" r:id="rId6"/>
    <p:sldId id="268" r:id="rId7"/>
    <p:sldId id="272" r:id="rId8"/>
    <p:sldId id="273" r:id="rId9"/>
    <p:sldId id="274" r:id="rId10"/>
    <p:sldId id="269" r:id="rId11"/>
    <p:sldId id="277" r:id="rId12"/>
    <p:sldId id="278" r:id="rId13"/>
    <p:sldId id="275" r:id="rId14"/>
    <p:sldId id="271" r:id="rId15"/>
    <p:sldId id="270" r:id="rId16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FF"/>
    <a:srgbClr val="FFFF99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9A981B-7981-4D53-AA90-8EBDF71D3E11}" v="66" dt="2025-11-23T03:44:07.94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300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kaya, Ryou" userId="b8aa65c8-0245-4e48-8589-05f519f206d6" providerId="ADAL" clId="{A2DB2374-E3CE-4EBE-97E0-439E687DFF3A}"/>
    <pc:docChg chg="undo custSel addSld delSld modSld">
      <pc:chgData name="Nakaya, Ryou" userId="b8aa65c8-0245-4e48-8589-05f519f206d6" providerId="ADAL" clId="{A2DB2374-E3CE-4EBE-97E0-439E687DFF3A}" dt="2025-10-14T00:52:55.360" v="6208" actId="207"/>
      <pc:docMkLst>
        <pc:docMk/>
      </pc:docMkLst>
      <pc:sldChg chg="addSp delSp modSp add del mod delAnim">
        <pc:chgData name="Nakaya, Ryou" userId="b8aa65c8-0245-4e48-8589-05f519f206d6" providerId="ADAL" clId="{A2DB2374-E3CE-4EBE-97E0-439E687DFF3A}" dt="2025-10-13T23:54:26.884" v="5752" actId="20577"/>
        <pc:sldMkLst>
          <pc:docMk/>
          <pc:sldMk cId="2604035569" sldId="257"/>
        </pc:sldMkLst>
      </pc:sldChg>
      <pc:sldChg chg="addSp delSp modSp add mod">
        <pc:chgData name="Nakaya, Ryou" userId="b8aa65c8-0245-4e48-8589-05f519f206d6" providerId="ADAL" clId="{A2DB2374-E3CE-4EBE-97E0-439E687DFF3A}" dt="2025-09-28T09:03:43.380" v="399" actId="14100"/>
        <pc:sldMkLst>
          <pc:docMk/>
          <pc:sldMk cId="2828978494" sldId="258"/>
        </pc:sldMkLst>
      </pc:sldChg>
      <pc:sldChg chg="addSp delSp modSp new mod">
        <pc:chgData name="Nakaya, Ryou" userId="b8aa65c8-0245-4e48-8589-05f519f206d6" providerId="ADAL" clId="{A2DB2374-E3CE-4EBE-97E0-439E687DFF3A}" dt="2025-10-13T23:22:19.932" v="5720" actId="14100"/>
        <pc:sldMkLst>
          <pc:docMk/>
          <pc:sldMk cId="3243464083" sldId="259"/>
        </pc:sldMkLst>
      </pc:sldChg>
      <pc:sldChg chg="addSp delSp modSp add mod">
        <pc:chgData name="Nakaya, Ryou" userId="b8aa65c8-0245-4e48-8589-05f519f206d6" providerId="ADAL" clId="{A2DB2374-E3CE-4EBE-97E0-439E687DFF3A}" dt="2025-10-14T00:37:51.086" v="6073" actId="14100"/>
        <pc:sldMkLst>
          <pc:docMk/>
          <pc:sldMk cId="676034413" sldId="260"/>
        </pc:sldMkLst>
      </pc:sldChg>
      <pc:sldChg chg="addSp modSp add mod">
        <pc:chgData name="Nakaya, Ryou" userId="b8aa65c8-0245-4e48-8589-05f519f206d6" providerId="ADAL" clId="{A2DB2374-E3CE-4EBE-97E0-439E687DFF3A}" dt="2025-10-14T00:48:02.790" v="6203" actId="13926"/>
        <pc:sldMkLst>
          <pc:docMk/>
          <pc:sldMk cId="1635983672" sldId="261"/>
        </pc:sldMkLst>
      </pc:sldChg>
      <pc:sldChg chg="addSp delSp modSp add mod">
        <pc:chgData name="Nakaya, Ryou" userId="b8aa65c8-0245-4e48-8589-05f519f206d6" providerId="ADAL" clId="{A2DB2374-E3CE-4EBE-97E0-439E687DFF3A}" dt="2025-09-28T09:49:20.516" v="2710" actId="20577"/>
        <pc:sldMkLst>
          <pc:docMk/>
          <pc:sldMk cId="1271845291" sldId="262"/>
        </pc:sldMkLst>
      </pc:sldChg>
      <pc:sldChg chg="addSp delSp modSp add del mod">
        <pc:chgData name="Nakaya, Ryou" userId="b8aa65c8-0245-4e48-8589-05f519f206d6" providerId="ADAL" clId="{A2DB2374-E3CE-4EBE-97E0-439E687DFF3A}" dt="2025-10-11T10:15:00.957" v="3563" actId="47"/>
        <pc:sldMkLst>
          <pc:docMk/>
          <pc:sldMk cId="436308300" sldId="263"/>
        </pc:sldMkLst>
      </pc:sldChg>
      <pc:sldChg chg="add del">
        <pc:chgData name="Nakaya, Ryou" userId="b8aa65c8-0245-4e48-8589-05f519f206d6" providerId="ADAL" clId="{A2DB2374-E3CE-4EBE-97E0-439E687DFF3A}" dt="2025-09-28T08:55:36.278" v="2" actId="47"/>
        <pc:sldMkLst>
          <pc:docMk/>
          <pc:sldMk cId="1119354309" sldId="263"/>
        </pc:sldMkLst>
      </pc:sldChg>
      <pc:sldChg chg="modSp new del mod">
        <pc:chgData name="Nakaya, Ryou" userId="b8aa65c8-0245-4e48-8589-05f519f206d6" providerId="ADAL" clId="{A2DB2374-E3CE-4EBE-97E0-439E687DFF3A}" dt="2025-10-11T10:06:43.815" v="3548" actId="47"/>
        <pc:sldMkLst>
          <pc:docMk/>
          <pc:sldMk cId="1387686651" sldId="264"/>
        </pc:sldMkLst>
      </pc:sldChg>
      <pc:sldChg chg="addSp modSp add del mod modTransition setBg">
        <pc:chgData name="Nakaya, Ryou" userId="b8aa65c8-0245-4e48-8589-05f519f206d6" providerId="ADAL" clId="{A2DB2374-E3CE-4EBE-97E0-439E687DFF3A}" dt="2025-10-11T10:09:03.136" v="3554" actId="47"/>
        <pc:sldMkLst>
          <pc:docMk/>
          <pc:sldMk cId="4232798060" sldId="264"/>
        </pc:sldMkLst>
      </pc:sldChg>
      <pc:sldChg chg="addSp delSp modSp add del mod">
        <pc:chgData name="Nakaya, Ryou" userId="b8aa65c8-0245-4e48-8589-05f519f206d6" providerId="ADAL" clId="{A2DB2374-E3CE-4EBE-97E0-439E687DFF3A}" dt="2025-10-14T00:52:55.360" v="6208" actId="207"/>
        <pc:sldMkLst>
          <pc:docMk/>
          <pc:sldMk cId="4267099085" sldId="264"/>
        </pc:sldMkLst>
      </pc:sldChg>
      <pc:sldChg chg="addSp modSp new mod">
        <pc:chgData name="Nakaya, Ryou" userId="b8aa65c8-0245-4e48-8589-05f519f206d6" providerId="ADAL" clId="{A2DB2374-E3CE-4EBE-97E0-439E687DFF3A}" dt="2025-10-14T00:17:46.106" v="5862" actId="1076"/>
        <pc:sldMkLst>
          <pc:docMk/>
          <pc:sldMk cId="2199782914" sldId="265"/>
        </pc:sldMkLst>
      </pc:sldChg>
      <pc:sldChg chg="add del">
        <pc:chgData name="Nakaya, Ryou" userId="b8aa65c8-0245-4e48-8589-05f519f206d6" providerId="ADAL" clId="{A2DB2374-E3CE-4EBE-97E0-439E687DFF3A}" dt="2025-09-28T08:55:36.278" v="2" actId="47"/>
        <pc:sldMkLst>
          <pc:docMk/>
          <pc:sldMk cId="2704848973" sldId="267"/>
        </pc:sldMkLst>
      </pc:sldChg>
      <pc:sldChg chg="add del">
        <pc:chgData name="Nakaya, Ryou" userId="b8aa65c8-0245-4e48-8589-05f519f206d6" providerId="ADAL" clId="{A2DB2374-E3CE-4EBE-97E0-439E687DFF3A}" dt="2025-09-28T08:55:36.278" v="2" actId="47"/>
        <pc:sldMkLst>
          <pc:docMk/>
          <pc:sldMk cId="1167807583" sldId="268"/>
        </pc:sldMkLst>
      </pc:sldChg>
      <pc:sldChg chg="add del">
        <pc:chgData name="Nakaya, Ryou" userId="b8aa65c8-0245-4e48-8589-05f519f206d6" providerId="ADAL" clId="{A2DB2374-E3CE-4EBE-97E0-439E687DFF3A}" dt="2025-09-28T08:55:36.278" v="2" actId="47"/>
        <pc:sldMkLst>
          <pc:docMk/>
          <pc:sldMk cId="174742763" sldId="269"/>
        </pc:sldMkLst>
      </pc:sldChg>
      <pc:sldChg chg="add del">
        <pc:chgData name="Nakaya, Ryou" userId="b8aa65c8-0245-4e48-8589-05f519f206d6" providerId="ADAL" clId="{A2DB2374-E3CE-4EBE-97E0-439E687DFF3A}" dt="2025-09-28T08:55:36.278" v="2" actId="47"/>
        <pc:sldMkLst>
          <pc:docMk/>
          <pc:sldMk cId="819923049" sldId="270"/>
        </pc:sldMkLst>
      </pc:sldChg>
      <pc:sldChg chg="add del">
        <pc:chgData name="Nakaya, Ryou" userId="b8aa65c8-0245-4e48-8589-05f519f206d6" providerId="ADAL" clId="{A2DB2374-E3CE-4EBE-97E0-439E687DFF3A}" dt="2025-09-28T08:55:36.278" v="2" actId="47"/>
        <pc:sldMkLst>
          <pc:docMk/>
          <pc:sldMk cId="4060549447" sldId="271"/>
        </pc:sldMkLst>
      </pc:sldChg>
    </pc:docChg>
  </pc:docChgLst>
  <pc:docChgLst>
    <pc:chgData name="Nakaya, Ryou" userId="b8aa65c8-0245-4e48-8589-05f519f206d6" providerId="ADAL" clId="{C04D2BCD-1773-45AD-B99C-391C1208A75D}"/>
    <pc:docChg chg="undo custSel addSld delSld modSld">
      <pc:chgData name="Nakaya, Ryou" userId="b8aa65c8-0245-4e48-8589-05f519f206d6" providerId="ADAL" clId="{C04D2BCD-1773-45AD-B99C-391C1208A75D}" dt="2025-10-15T00:27:25.939" v="428" actId="20577"/>
      <pc:docMkLst>
        <pc:docMk/>
      </pc:docMkLst>
      <pc:sldChg chg="modSp modAnim">
        <pc:chgData name="Nakaya, Ryou" userId="b8aa65c8-0245-4e48-8589-05f519f206d6" providerId="ADAL" clId="{C04D2BCD-1773-45AD-B99C-391C1208A75D}" dt="2025-10-14T23:33:48.977" v="43" actId="20577"/>
        <pc:sldMkLst>
          <pc:docMk/>
          <pc:sldMk cId="613687232" sldId="256"/>
        </pc:sldMkLst>
      </pc:sldChg>
      <pc:sldChg chg="del">
        <pc:chgData name="Nakaya, Ryou" userId="b8aa65c8-0245-4e48-8589-05f519f206d6" providerId="ADAL" clId="{C04D2BCD-1773-45AD-B99C-391C1208A75D}" dt="2025-10-14T23:34:27.073" v="44" actId="47"/>
        <pc:sldMkLst>
          <pc:docMk/>
          <pc:sldMk cId="2604035569" sldId="257"/>
        </pc:sldMkLst>
      </pc:sldChg>
      <pc:sldChg chg="del">
        <pc:chgData name="Nakaya, Ryou" userId="b8aa65c8-0245-4e48-8589-05f519f206d6" providerId="ADAL" clId="{C04D2BCD-1773-45AD-B99C-391C1208A75D}" dt="2025-10-14T23:34:27.073" v="44" actId="47"/>
        <pc:sldMkLst>
          <pc:docMk/>
          <pc:sldMk cId="2828978494" sldId="258"/>
        </pc:sldMkLst>
      </pc:sldChg>
      <pc:sldChg chg="del">
        <pc:chgData name="Nakaya, Ryou" userId="b8aa65c8-0245-4e48-8589-05f519f206d6" providerId="ADAL" clId="{C04D2BCD-1773-45AD-B99C-391C1208A75D}" dt="2025-10-14T23:34:27.073" v="44" actId="47"/>
        <pc:sldMkLst>
          <pc:docMk/>
          <pc:sldMk cId="3243464083" sldId="259"/>
        </pc:sldMkLst>
      </pc:sldChg>
      <pc:sldChg chg="del">
        <pc:chgData name="Nakaya, Ryou" userId="b8aa65c8-0245-4e48-8589-05f519f206d6" providerId="ADAL" clId="{C04D2BCD-1773-45AD-B99C-391C1208A75D}" dt="2025-10-14T23:34:27.073" v="44" actId="47"/>
        <pc:sldMkLst>
          <pc:docMk/>
          <pc:sldMk cId="676034413" sldId="260"/>
        </pc:sldMkLst>
      </pc:sldChg>
      <pc:sldChg chg="del">
        <pc:chgData name="Nakaya, Ryou" userId="b8aa65c8-0245-4e48-8589-05f519f206d6" providerId="ADAL" clId="{C04D2BCD-1773-45AD-B99C-391C1208A75D}" dt="2025-10-14T23:34:27.073" v="44" actId="47"/>
        <pc:sldMkLst>
          <pc:docMk/>
          <pc:sldMk cId="1635983672" sldId="261"/>
        </pc:sldMkLst>
      </pc:sldChg>
      <pc:sldChg chg="del">
        <pc:chgData name="Nakaya, Ryou" userId="b8aa65c8-0245-4e48-8589-05f519f206d6" providerId="ADAL" clId="{C04D2BCD-1773-45AD-B99C-391C1208A75D}" dt="2025-10-14T23:34:27.073" v="44" actId="47"/>
        <pc:sldMkLst>
          <pc:docMk/>
          <pc:sldMk cId="1271845291" sldId="262"/>
        </pc:sldMkLst>
      </pc:sldChg>
      <pc:sldChg chg="modSp mod">
        <pc:chgData name="Nakaya, Ryou" userId="b8aa65c8-0245-4e48-8589-05f519f206d6" providerId="ADAL" clId="{C04D2BCD-1773-45AD-B99C-391C1208A75D}" dt="2025-10-14T23:36:26.757" v="68" actId="255"/>
        <pc:sldMkLst>
          <pc:docMk/>
          <pc:sldMk cId="4267099085" sldId="264"/>
        </pc:sldMkLst>
      </pc:sldChg>
      <pc:sldChg chg="modSp new mod">
        <pc:chgData name="Nakaya, Ryou" userId="b8aa65c8-0245-4e48-8589-05f519f206d6" providerId="ADAL" clId="{C04D2BCD-1773-45AD-B99C-391C1208A75D}" dt="2025-10-15T00:27:25.939" v="428" actId="20577"/>
        <pc:sldMkLst>
          <pc:docMk/>
          <pc:sldMk cId="1647937781" sldId="265"/>
        </pc:sldMkLst>
      </pc:sldChg>
      <pc:sldChg chg="del">
        <pc:chgData name="Nakaya, Ryou" userId="b8aa65c8-0245-4e48-8589-05f519f206d6" providerId="ADAL" clId="{C04D2BCD-1773-45AD-B99C-391C1208A75D}" dt="2025-10-14T23:34:27.073" v="44" actId="47"/>
        <pc:sldMkLst>
          <pc:docMk/>
          <pc:sldMk cId="2199782914" sldId="265"/>
        </pc:sldMkLst>
      </pc:sldChg>
      <pc:sldChg chg="addSp delSp modSp add mod">
        <pc:chgData name="Nakaya, Ryou" userId="b8aa65c8-0245-4e48-8589-05f519f206d6" providerId="ADAL" clId="{C04D2BCD-1773-45AD-B99C-391C1208A75D}" dt="2025-10-15T00:19:57.975" v="419" actId="13926"/>
        <pc:sldMkLst>
          <pc:docMk/>
          <pc:sldMk cId="1703591433" sldId="266"/>
        </pc:sldMkLst>
      </pc:sldChg>
    </pc:docChg>
  </pc:docChgLst>
  <pc:docChgLst>
    <pc:chgData name="Nakaya, Ryou" userId="b8aa65c8-0245-4e48-8589-05f519f206d6" providerId="ADAL" clId="{A730C313-24F1-496E-BEE1-C3C79FF4B390}"/>
    <pc:docChg chg="undo custSel addSld delSld modSld sldOrd">
      <pc:chgData name="Nakaya, Ryou" userId="b8aa65c8-0245-4e48-8589-05f519f206d6" providerId="ADAL" clId="{A730C313-24F1-496E-BEE1-C3C79FF4B390}" dt="2025-11-23T03:44:19.942" v="3088" actId="1076"/>
      <pc:docMkLst>
        <pc:docMk/>
      </pc:docMkLst>
      <pc:sldChg chg="del">
        <pc:chgData name="Nakaya, Ryou" userId="b8aa65c8-0245-4e48-8589-05f519f206d6" providerId="ADAL" clId="{A730C313-24F1-496E-BEE1-C3C79FF4B390}" dt="2025-11-23T00:55:37.152" v="244" actId="47"/>
        <pc:sldMkLst>
          <pc:docMk/>
          <pc:sldMk cId="613687232" sldId="256"/>
        </pc:sldMkLst>
      </pc:sldChg>
      <pc:sldChg chg="del">
        <pc:chgData name="Nakaya, Ryou" userId="b8aa65c8-0245-4e48-8589-05f519f206d6" providerId="ADAL" clId="{A730C313-24F1-496E-BEE1-C3C79FF4B390}" dt="2025-11-23T00:56:40.220" v="271" actId="47"/>
        <pc:sldMkLst>
          <pc:docMk/>
          <pc:sldMk cId="4267099085" sldId="264"/>
        </pc:sldMkLst>
      </pc:sldChg>
      <pc:sldChg chg="addSp delSp modSp mod">
        <pc:chgData name="Nakaya, Ryou" userId="b8aa65c8-0245-4e48-8589-05f519f206d6" providerId="ADAL" clId="{A730C313-24F1-496E-BEE1-C3C79FF4B390}" dt="2025-11-23T01:42:19.678" v="1152" actId="14100"/>
        <pc:sldMkLst>
          <pc:docMk/>
          <pc:sldMk cId="1647937781" sldId="265"/>
        </pc:sldMkLst>
        <pc:spChg chg="mod">
          <ac:chgData name="Nakaya, Ryou" userId="b8aa65c8-0245-4e48-8589-05f519f206d6" providerId="ADAL" clId="{A730C313-24F1-496E-BEE1-C3C79FF4B390}" dt="2025-11-23T01:42:19.678" v="1152" actId="14100"/>
          <ac:spMkLst>
            <pc:docMk/>
            <pc:sldMk cId="1647937781" sldId="265"/>
            <ac:spMk id="2" creationId="{6AB6953A-55E7-977F-875F-5586931465BD}"/>
          </ac:spMkLst>
        </pc:spChg>
        <pc:spChg chg="del mod">
          <ac:chgData name="Nakaya, Ryou" userId="b8aa65c8-0245-4e48-8589-05f519f206d6" providerId="ADAL" clId="{A730C313-24F1-496E-BEE1-C3C79FF4B390}" dt="2025-11-23T00:55:48.956" v="245" actId="478"/>
          <ac:spMkLst>
            <pc:docMk/>
            <pc:sldMk cId="1647937781" sldId="265"/>
            <ac:spMk id="3" creationId="{5EC6CE3E-F44A-8C5B-09F0-1F3804D5237B}"/>
          </ac:spMkLst>
        </pc:spChg>
        <pc:spChg chg="add del mod">
          <ac:chgData name="Nakaya, Ryou" userId="b8aa65c8-0245-4e48-8589-05f519f206d6" providerId="ADAL" clId="{A730C313-24F1-496E-BEE1-C3C79FF4B390}" dt="2025-11-23T00:55:50.358" v="246" actId="478"/>
          <ac:spMkLst>
            <pc:docMk/>
            <pc:sldMk cId="1647937781" sldId="265"/>
            <ac:spMk id="5" creationId="{11A8F5BC-CBCB-6C98-64E6-E7E9A56268D8}"/>
          </ac:spMkLst>
        </pc:spChg>
        <pc:picChg chg="add mod">
          <ac:chgData name="Nakaya, Ryou" userId="b8aa65c8-0245-4e48-8589-05f519f206d6" providerId="ADAL" clId="{A730C313-24F1-496E-BEE1-C3C79FF4B390}" dt="2025-11-23T01:38:37.702" v="1064" actId="1076"/>
          <ac:picMkLst>
            <pc:docMk/>
            <pc:sldMk cId="1647937781" sldId="265"/>
            <ac:picMk id="6" creationId="{9046C792-CA2C-74DB-ECF4-1DA58915BC3C}"/>
          </ac:picMkLst>
        </pc:picChg>
      </pc:sldChg>
      <pc:sldChg chg="modSp del mod">
        <pc:chgData name="Nakaya, Ryou" userId="b8aa65c8-0245-4e48-8589-05f519f206d6" providerId="ADAL" clId="{A730C313-24F1-496E-BEE1-C3C79FF4B390}" dt="2025-11-23T00:56:35.017" v="270" actId="47"/>
        <pc:sldMkLst>
          <pc:docMk/>
          <pc:sldMk cId="2072702773" sldId="267"/>
        </pc:sldMkLst>
      </pc:sldChg>
      <pc:sldChg chg="addSp delSp modSp mod">
        <pc:chgData name="Nakaya, Ryou" userId="b8aa65c8-0245-4e48-8589-05f519f206d6" providerId="ADAL" clId="{A730C313-24F1-496E-BEE1-C3C79FF4B390}" dt="2025-11-23T03:40:34.800" v="3014" actId="20577"/>
        <pc:sldMkLst>
          <pc:docMk/>
          <pc:sldMk cId="2743418782" sldId="268"/>
        </pc:sldMkLst>
        <pc:spChg chg="mod">
          <ac:chgData name="Nakaya, Ryou" userId="b8aa65c8-0245-4e48-8589-05f519f206d6" providerId="ADAL" clId="{A730C313-24F1-496E-BEE1-C3C79FF4B390}" dt="2025-11-23T03:40:34.800" v="3014" actId="20577"/>
          <ac:spMkLst>
            <pc:docMk/>
            <pc:sldMk cId="2743418782" sldId="268"/>
            <ac:spMk id="2" creationId="{68BA9D73-2DFA-168F-80B8-919D438D5552}"/>
          </ac:spMkLst>
        </pc:spChg>
        <pc:spChg chg="del">
          <ac:chgData name="Nakaya, Ryou" userId="b8aa65c8-0245-4e48-8589-05f519f206d6" providerId="ADAL" clId="{A730C313-24F1-496E-BEE1-C3C79FF4B390}" dt="2025-11-23T00:58:21.464" v="294" actId="478"/>
          <ac:spMkLst>
            <pc:docMk/>
            <pc:sldMk cId="2743418782" sldId="268"/>
            <ac:spMk id="3" creationId="{FCAF21E2-B26D-09CB-1BFA-53D3711835AC}"/>
          </ac:spMkLst>
        </pc:spChg>
        <pc:spChg chg="add del mod">
          <ac:chgData name="Nakaya, Ryou" userId="b8aa65c8-0245-4e48-8589-05f519f206d6" providerId="ADAL" clId="{A730C313-24F1-496E-BEE1-C3C79FF4B390}" dt="2025-11-23T00:58:24.494" v="295" actId="478"/>
          <ac:spMkLst>
            <pc:docMk/>
            <pc:sldMk cId="2743418782" sldId="268"/>
            <ac:spMk id="5" creationId="{074BAE77-0F79-7DA6-39D5-CD4ADC0ABC9F}"/>
          </ac:spMkLst>
        </pc:spChg>
        <pc:spChg chg="add mod">
          <ac:chgData name="Nakaya, Ryou" userId="b8aa65c8-0245-4e48-8589-05f519f206d6" providerId="ADAL" clId="{A730C313-24F1-496E-BEE1-C3C79FF4B390}" dt="2025-11-23T01:05:11.319" v="466" actId="14100"/>
          <ac:spMkLst>
            <pc:docMk/>
            <pc:sldMk cId="2743418782" sldId="268"/>
            <ac:spMk id="12" creationId="{AA3FF2F9-8728-9A30-A387-8A516CF197ED}"/>
          </ac:spMkLst>
        </pc:spChg>
        <pc:picChg chg="add del mod modCrop">
          <ac:chgData name="Nakaya, Ryou" userId="b8aa65c8-0245-4e48-8589-05f519f206d6" providerId="ADAL" clId="{A730C313-24F1-496E-BEE1-C3C79FF4B390}" dt="2025-11-23T00:58:59.115" v="300" actId="21"/>
          <ac:picMkLst>
            <pc:docMk/>
            <pc:sldMk cId="2743418782" sldId="268"/>
            <ac:picMk id="7" creationId="{60617DB8-840C-756C-CCE5-585F771665DF}"/>
          </ac:picMkLst>
        </pc:picChg>
        <pc:picChg chg="add mod">
          <ac:chgData name="Nakaya, Ryou" userId="b8aa65c8-0245-4e48-8589-05f519f206d6" providerId="ADAL" clId="{A730C313-24F1-496E-BEE1-C3C79FF4B390}" dt="2025-11-23T01:05:06.869" v="464" actId="1076"/>
          <ac:picMkLst>
            <pc:docMk/>
            <pc:sldMk cId="2743418782" sldId="268"/>
            <ac:picMk id="8" creationId="{A8951FD9-EBED-1FB6-8CCC-A7406C9DE22E}"/>
          </ac:picMkLst>
        </pc:picChg>
        <pc:picChg chg="add del mod modCrop">
          <ac:chgData name="Nakaya, Ryou" userId="b8aa65c8-0245-4e48-8589-05f519f206d6" providerId="ADAL" clId="{A730C313-24F1-496E-BEE1-C3C79FF4B390}" dt="2025-11-23T01:01:28.987" v="309" actId="21"/>
          <ac:picMkLst>
            <pc:docMk/>
            <pc:sldMk cId="2743418782" sldId="268"/>
            <ac:picMk id="10" creationId="{71C169B1-745F-46F0-7908-16E2B0C8FDDA}"/>
          </ac:picMkLst>
        </pc:picChg>
        <pc:picChg chg="add del mod">
          <ac:chgData name="Nakaya, Ryou" userId="b8aa65c8-0245-4e48-8589-05f519f206d6" providerId="ADAL" clId="{A730C313-24F1-496E-BEE1-C3C79FF4B390}" dt="2025-11-23T01:02:10.183" v="314" actId="478"/>
          <ac:picMkLst>
            <pc:docMk/>
            <pc:sldMk cId="2743418782" sldId="268"/>
            <ac:picMk id="11" creationId="{03D9B498-5AED-B5E0-1706-26EA31DC1352}"/>
          </ac:picMkLst>
        </pc:picChg>
        <pc:picChg chg="del">
          <ac:chgData name="Nakaya, Ryou" userId="b8aa65c8-0245-4e48-8589-05f519f206d6" providerId="ADAL" clId="{A730C313-24F1-496E-BEE1-C3C79FF4B390}" dt="2025-11-23T00:57:18.213" v="286" actId="478"/>
          <ac:picMkLst>
            <pc:docMk/>
            <pc:sldMk cId="2743418782" sldId="268"/>
            <ac:picMk id="1026" creationId="{25DA9140-9A0C-91EE-7953-2B3227FF6447}"/>
          </ac:picMkLst>
        </pc:picChg>
      </pc:sldChg>
      <pc:sldChg chg="addSp delSp modSp mod">
        <pc:chgData name="Nakaya, Ryou" userId="b8aa65c8-0245-4e48-8589-05f519f206d6" providerId="ADAL" clId="{A730C313-24F1-496E-BEE1-C3C79FF4B390}" dt="2025-11-23T03:42:14.632" v="3074" actId="20577"/>
        <pc:sldMkLst>
          <pc:docMk/>
          <pc:sldMk cId="3623894977" sldId="269"/>
        </pc:sldMkLst>
        <pc:spChg chg="mod">
          <ac:chgData name="Nakaya, Ryou" userId="b8aa65c8-0245-4e48-8589-05f519f206d6" providerId="ADAL" clId="{A730C313-24F1-496E-BEE1-C3C79FF4B390}" dt="2025-11-23T01:43:06.677" v="1180" actId="27636"/>
          <ac:spMkLst>
            <pc:docMk/>
            <pc:sldMk cId="3623894977" sldId="269"/>
            <ac:spMk id="2" creationId="{ACFA8CD1-725C-8602-F63C-C4A1FEB61B6A}"/>
          </ac:spMkLst>
        </pc:spChg>
        <pc:spChg chg="add del mod">
          <ac:chgData name="Nakaya, Ryou" userId="b8aa65c8-0245-4e48-8589-05f519f206d6" providerId="ADAL" clId="{A730C313-24F1-496E-BEE1-C3C79FF4B390}" dt="2025-11-23T01:44:03.959" v="1188" actId="478"/>
          <ac:spMkLst>
            <pc:docMk/>
            <pc:sldMk cId="3623894977" sldId="269"/>
            <ac:spMk id="3" creationId="{1613783B-ABE6-425F-B827-04D9373FDA06}"/>
          </ac:spMkLst>
        </pc:spChg>
        <pc:spChg chg="add mod">
          <ac:chgData name="Nakaya, Ryou" userId="b8aa65c8-0245-4e48-8589-05f519f206d6" providerId="ADAL" clId="{A730C313-24F1-496E-BEE1-C3C79FF4B390}" dt="2025-11-23T02:02:20.753" v="1790" actId="1076"/>
          <ac:spMkLst>
            <pc:docMk/>
            <pc:sldMk cId="3623894977" sldId="269"/>
            <ac:spMk id="5" creationId="{1DF5E14B-8627-35EA-368D-F75AC760EF8F}"/>
          </ac:spMkLst>
        </pc:spChg>
        <pc:spChg chg="add mod">
          <ac:chgData name="Nakaya, Ryou" userId="b8aa65c8-0245-4e48-8589-05f519f206d6" providerId="ADAL" clId="{A730C313-24F1-496E-BEE1-C3C79FF4B390}" dt="2025-11-23T03:42:14.632" v="3074" actId="20577"/>
          <ac:spMkLst>
            <pc:docMk/>
            <pc:sldMk cId="3623894977" sldId="269"/>
            <ac:spMk id="6" creationId="{F218EAC5-B83E-89B1-36F0-DF85C39316BB}"/>
          </ac:spMkLst>
        </pc:spChg>
        <pc:spChg chg="del">
          <ac:chgData name="Nakaya, Ryou" userId="b8aa65c8-0245-4e48-8589-05f519f206d6" providerId="ADAL" clId="{A730C313-24F1-496E-BEE1-C3C79FF4B390}" dt="2025-11-23T01:43:47.895" v="1184" actId="478"/>
          <ac:spMkLst>
            <pc:docMk/>
            <pc:sldMk cId="3623894977" sldId="269"/>
            <ac:spMk id="19" creationId="{EA8C2870-FFA3-61AA-72BB-0D1158C0F91F}"/>
          </ac:spMkLst>
        </pc:spChg>
        <pc:spChg chg="del">
          <ac:chgData name="Nakaya, Ryou" userId="b8aa65c8-0245-4e48-8589-05f519f206d6" providerId="ADAL" clId="{A730C313-24F1-496E-BEE1-C3C79FF4B390}" dt="2025-11-23T01:43:46.700" v="1183" actId="478"/>
          <ac:spMkLst>
            <pc:docMk/>
            <pc:sldMk cId="3623894977" sldId="269"/>
            <ac:spMk id="29" creationId="{2E73213B-0FDC-F8DF-7F03-D055E9B5BE04}"/>
          </ac:spMkLst>
        </pc:spChg>
        <pc:picChg chg="add mod">
          <ac:chgData name="Nakaya, Ryou" userId="b8aa65c8-0245-4e48-8589-05f519f206d6" providerId="ADAL" clId="{A730C313-24F1-496E-BEE1-C3C79FF4B390}" dt="2025-11-23T01:44:11.224" v="1190" actId="1076"/>
          <ac:picMkLst>
            <pc:docMk/>
            <pc:sldMk cId="3623894977" sldId="269"/>
            <ac:picMk id="4" creationId="{52254AFD-3CFB-AD35-66AE-4670B24495BE}"/>
          </ac:picMkLst>
        </pc:picChg>
        <pc:picChg chg="del">
          <ac:chgData name="Nakaya, Ryou" userId="b8aa65c8-0245-4e48-8589-05f519f206d6" providerId="ADAL" clId="{A730C313-24F1-496E-BEE1-C3C79FF4B390}" dt="2025-11-23T01:43:45.538" v="1182" actId="478"/>
          <ac:picMkLst>
            <pc:docMk/>
            <pc:sldMk cId="3623894977" sldId="269"/>
            <ac:picMk id="18" creationId="{27E65FE8-6C89-C9F4-6D6C-3D7D45249ABE}"/>
          </ac:picMkLst>
        </pc:picChg>
        <pc:cxnChg chg="add mod">
          <ac:chgData name="Nakaya, Ryou" userId="b8aa65c8-0245-4e48-8589-05f519f206d6" providerId="ADAL" clId="{A730C313-24F1-496E-BEE1-C3C79FF4B390}" dt="2025-11-23T02:01:01.035" v="1704" actId="14100"/>
          <ac:cxnSpMkLst>
            <pc:docMk/>
            <pc:sldMk cId="3623894977" sldId="269"/>
            <ac:cxnSpMk id="7" creationId="{BA8D72DF-530D-3093-8492-F82AE63ADE29}"/>
          </ac:cxnSpMkLst>
        </pc:cxnChg>
        <pc:cxnChg chg="add mod">
          <ac:chgData name="Nakaya, Ryou" userId="b8aa65c8-0245-4e48-8589-05f519f206d6" providerId="ADAL" clId="{A730C313-24F1-496E-BEE1-C3C79FF4B390}" dt="2025-11-23T02:19:38.973" v="1931"/>
          <ac:cxnSpMkLst>
            <pc:docMk/>
            <pc:sldMk cId="3623894977" sldId="269"/>
            <ac:cxnSpMk id="11" creationId="{6F0C9E66-604B-8100-CC9A-2F25076A3960}"/>
          </ac:cxnSpMkLst>
        </pc:cxnChg>
      </pc:sldChg>
      <pc:sldChg chg="addSp delSp modSp mod">
        <pc:chgData name="Nakaya, Ryou" userId="b8aa65c8-0245-4e48-8589-05f519f206d6" providerId="ADAL" clId="{A730C313-24F1-496E-BEE1-C3C79FF4B390}" dt="2025-11-23T03:44:19.942" v="3088" actId="1076"/>
        <pc:sldMkLst>
          <pc:docMk/>
          <pc:sldMk cId="2884897170" sldId="270"/>
        </pc:sldMkLst>
        <pc:spChg chg="del">
          <ac:chgData name="Nakaya, Ryou" userId="b8aa65c8-0245-4e48-8589-05f519f206d6" providerId="ADAL" clId="{A730C313-24F1-496E-BEE1-C3C79FF4B390}" dt="2025-11-23T03:27:08.003" v="2323" actId="478"/>
          <ac:spMkLst>
            <pc:docMk/>
            <pc:sldMk cId="2884897170" sldId="270"/>
            <ac:spMk id="2" creationId="{EB3E5774-A362-9D77-8FE4-1738DB14EB11}"/>
          </ac:spMkLst>
        </pc:spChg>
        <pc:spChg chg="add del mod">
          <ac:chgData name="Nakaya, Ryou" userId="b8aa65c8-0245-4e48-8589-05f519f206d6" providerId="ADAL" clId="{A730C313-24F1-496E-BEE1-C3C79FF4B390}" dt="2025-11-23T03:27:09.328" v="2324" actId="478"/>
          <ac:spMkLst>
            <pc:docMk/>
            <pc:sldMk cId="2884897170" sldId="270"/>
            <ac:spMk id="4" creationId="{67AA5754-5BFC-C507-69D6-6DB916C887E5}"/>
          </ac:spMkLst>
        </pc:spChg>
        <pc:spChg chg="add mod">
          <ac:chgData name="Nakaya, Ryou" userId="b8aa65c8-0245-4e48-8589-05f519f206d6" providerId="ADAL" clId="{A730C313-24F1-496E-BEE1-C3C79FF4B390}" dt="2025-11-23T03:38:40.727" v="2909" actId="1076"/>
          <ac:spMkLst>
            <pc:docMk/>
            <pc:sldMk cId="2884897170" sldId="270"/>
            <ac:spMk id="17" creationId="{A5F58E6C-35CA-9C57-FD06-02E29655FF4C}"/>
          </ac:spMkLst>
        </pc:spChg>
        <pc:spChg chg="add mod">
          <ac:chgData name="Nakaya, Ryou" userId="b8aa65c8-0245-4e48-8589-05f519f206d6" providerId="ADAL" clId="{A730C313-24F1-496E-BEE1-C3C79FF4B390}" dt="2025-11-23T03:39:48.027" v="3010" actId="14100"/>
          <ac:spMkLst>
            <pc:docMk/>
            <pc:sldMk cId="2884897170" sldId="270"/>
            <ac:spMk id="18" creationId="{E4D026E7-F55D-52E2-AF44-50E2A5013699}"/>
          </ac:spMkLst>
        </pc:spChg>
        <pc:spChg chg="del">
          <ac:chgData name="Nakaya, Ryou" userId="b8aa65c8-0245-4e48-8589-05f519f206d6" providerId="ADAL" clId="{A730C313-24F1-496E-BEE1-C3C79FF4B390}" dt="2025-11-23T03:27:04.010" v="2320" actId="478"/>
          <ac:spMkLst>
            <pc:docMk/>
            <pc:sldMk cId="2884897170" sldId="270"/>
            <ac:spMk id="19" creationId="{AA8A82D3-FCE8-8AC7-2105-24556C6C8574}"/>
          </ac:spMkLst>
        </pc:spChg>
        <pc:spChg chg="add mod">
          <ac:chgData name="Nakaya, Ryou" userId="b8aa65c8-0245-4e48-8589-05f519f206d6" providerId="ADAL" clId="{A730C313-24F1-496E-BEE1-C3C79FF4B390}" dt="2025-11-23T03:32:14.640" v="2495" actId="14100"/>
          <ac:spMkLst>
            <pc:docMk/>
            <pc:sldMk cId="2884897170" sldId="270"/>
            <ac:spMk id="21" creationId="{65C3FCD7-0A52-8E35-CA2A-8192612556C5}"/>
          </ac:spMkLst>
        </pc:spChg>
        <pc:spChg chg="add mod">
          <ac:chgData name="Nakaya, Ryou" userId="b8aa65c8-0245-4e48-8589-05f519f206d6" providerId="ADAL" clId="{A730C313-24F1-496E-BEE1-C3C79FF4B390}" dt="2025-11-23T03:33:54.681" v="2644" actId="14100"/>
          <ac:spMkLst>
            <pc:docMk/>
            <pc:sldMk cId="2884897170" sldId="270"/>
            <ac:spMk id="22" creationId="{C6A7059B-B5B1-01C3-840C-DF3B74C567AB}"/>
          </ac:spMkLst>
        </pc:spChg>
        <pc:spChg chg="add mod">
          <ac:chgData name="Nakaya, Ryou" userId="b8aa65c8-0245-4e48-8589-05f519f206d6" providerId="ADAL" clId="{A730C313-24F1-496E-BEE1-C3C79FF4B390}" dt="2025-11-23T03:34:02.002" v="2647" actId="14100"/>
          <ac:spMkLst>
            <pc:docMk/>
            <pc:sldMk cId="2884897170" sldId="270"/>
            <ac:spMk id="24" creationId="{19EBDD62-D230-4DA1-9495-063B2CF2DFCE}"/>
          </ac:spMkLst>
        </pc:spChg>
        <pc:spChg chg="add mod">
          <ac:chgData name="Nakaya, Ryou" userId="b8aa65c8-0245-4e48-8589-05f519f206d6" providerId="ADAL" clId="{A730C313-24F1-496E-BEE1-C3C79FF4B390}" dt="2025-11-23T03:44:19.942" v="3088" actId="1076"/>
          <ac:spMkLst>
            <pc:docMk/>
            <pc:sldMk cId="2884897170" sldId="270"/>
            <ac:spMk id="25" creationId="{6DCE28C1-5670-7AA4-AACF-1413F164A5BF}"/>
          </ac:spMkLst>
        </pc:spChg>
        <pc:picChg chg="del">
          <ac:chgData name="Nakaya, Ryou" userId="b8aa65c8-0245-4e48-8589-05f519f206d6" providerId="ADAL" clId="{A730C313-24F1-496E-BEE1-C3C79FF4B390}" dt="2025-11-23T02:27:45.813" v="2057" actId="478"/>
          <ac:picMkLst>
            <pc:docMk/>
            <pc:sldMk cId="2884897170" sldId="270"/>
            <ac:picMk id="8" creationId="{1D209413-92A7-189E-A91D-DED1451C52CA}"/>
          </ac:picMkLst>
        </pc:picChg>
        <pc:picChg chg="add del mod modCrop">
          <ac:chgData name="Nakaya, Ryou" userId="b8aa65c8-0245-4e48-8589-05f519f206d6" providerId="ADAL" clId="{A730C313-24F1-496E-BEE1-C3C79FF4B390}" dt="2025-11-23T03:28:14.738" v="2332" actId="21"/>
          <ac:picMkLst>
            <pc:docMk/>
            <pc:sldMk cId="2884897170" sldId="270"/>
            <ac:picMk id="9" creationId="{51B0236C-420A-34B7-7583-EACF82306B54}"/>
          </ac:picMkLst>
        </pc:picChg>
        <pc:picChg chg="add mod">
          <ac:chgData name="Nakaya, Ryou" userId="b8aa65c8-0245-4e48-8589-05f519f206d6" providerId="ADAL" clId="{A730C313-24F1-496E-BEE1-C3C79FF4B390}" dt="2025-11-23T03:30:14.449" v="2359" actId="1076"/>
          <ac:picMkLst>
            <pc:docMk/>
            <pc:sldMk cId="2884897170" sldId="270"/>
            <ac:picMk id="10" creationId="{939F544D-5A6B-AC8D-000B-829B1C100872}"/>
          </ac:picMkLst>
        </pc:picChg>
        <pc:picChg chg="add del mod modCrop">
          <ac:chgData name="Nakaya, Ryou" userId="b8aa65c8-0245-4e48-8589-05f519f206d6" providerId="ADAL" clId="{A730C313-24F1-496E-BEE1-C3C79FF4B390}" dt="2025-11-23T03:28:52.352" v="2339" actId="21"/>
          <ac:picMkLst>
            <pc:docMk/>
            <pc:sldMk cId="2884897170" sldId="270"/>
            <ac:picMk id="12" creationId="{5ACF4FBF-4B95-EFEE-0E7D-8822D6210B78}"/>
          </ac:picMkLst>
        </pc:picChg>
        <pc:picChg chg="add mod">
          <ac:chgData name="Nakaya, Ryou" userId="b8aa65c8-0245-4e48-8589-05f519f206d6" providerId="ADAL" clId="{A730C313-24F1-496E-BEE1-C3C79FF4B390}" dt="2025-11-23T03:30:08.016" v="2356" actId="1076"/>
          <ac:picMkLst>
            <pc:docMk/>
            <pc:sldMk cId="2884897170" sldId="270"/>
            <ac:picMk id="13" creationId="{5C66CFDD-6ADB-EDB8-4F2E-E6A8309F6794}"/>
          </ac:picMkLst>
        </pc:picChg>
        <pc:picChg chg="add del mod modCrop">
          <ac:chgData name="Nakaya, Ryou" userId="b8aa65c8-0245-4e48-8589-05f519f206d6" providerId="ADAL" clId="{A730C313-24F1-496E-BEE1-C3C79FF4B390}" dt="2025-11-23T03:29:56.268" v="2352" actId="21"/>
          <ac:picMkLst>
            <pc:docMk/>
            <pc:sldMk cId="2884897170" sldId="270"/>
            <ac:picMk id="15" creationId="{0880CC0C-E1A7-C9DA-7D6A-8EF9218472C3}"/>
          </ac:picMkLst>
        </pc:picChg>
        <pc:picChg chg="add mod">
          <ac:chgData name="Nakaya, Ryou" userId="b8aa65c8-0245-4e48-8589-05f519f206d6" providerId="ADAL" clId="{A730C313-24F1-496E-BEE1-C3C79FF4B390}" dt="2025-11-23T03:30:23.900" v="2362" actId="14100"/>
          <ac:picMkLst>
            <pc:docMk/>
            <pc:sldMk cId="2884897170" sldId="270"/>
            <ac:picMk id="16" creationId="{FF5160E3-6B9E-8EF7-69A7-523DBC5F0F67}"/>
          </ac:picMkLst>
        </pc:picChg>
        <pc:picChg chg="del">
          <ac:chgData name="Nakaya, Ryou" userId="b8aa65c8-0245-4e48-8589-05f519f206d6" providerId="ADAL" clId="{A730C313-24F1-496E-BEE1-C3C79FF4B390}" dt="2025-11-23T03:27:04.437" v="2321" actId="478"/>
          <ac:picMkLst>
            <pc:docMk/>
            <pc:sldMk cId="2884897170" sldId="270"/>
            <ac:picMk id="23" creationId="{C96EECBF-F0EC-572F-02A3-AFA38736461A}"/>
          </ac:picMkLst>
        </pc:picChg>
        <pc:picChg chg="del">
          <ac:chgData name="Nakaya, Ryou" userId="b8aa65c8-0245-4e48-8589-05f519f206d6" providerId="ADAL" clId="{A730C313-24F1-496E-BEE1-C3C79FF4B390}" dt="2025-11-23T03:27:05.695" v="2322" actId="478"/>
          <ac:picMkLst>
            <pc:docMk/>
            <pc:sldMk cId="2884897170" sldId="270"/>
            <ac:picMk id="1026" creationId="{F231E0D0-D87B-754B-104C-135F659E4C04}"/>
          </ac:picMkLst>
        </pc:picChg>
        <pc:inkChg chg="del">
          <ac:chgData name="Nakaya, Ryou" userId="b8aa65c8-0245-4e48-8589-05f519f206d6" providerId="ADAL" clId="{A730C313-24F1-496E-BEE1-C3C79FF4B390}" dt="2025-11-23T02:27:47.473" v="2059" actId="478"/>
          <ac:inkMkLst>
            <pc:docMk/>
            <pc:sldMk cId="2884897170" sldId="270"/>
            <ac:inkMk id="5" creationId="{709BAE20-53CF-D50F-AB3D-74A230540B6B}"/>
          </ac:inkMkLst>
        </pc:inkChg>
        <pc:cxnChg chg="add del mod">
          <ac:chgData name="Nakaya, Ryou" userId="b8aa65c8-0245-4e48-8589-05f519f206d6" providerId="ADAL" clId="{A730C313-24F1-496E-BEE1-C3C79FF4B390}" dt="2025-11-23T03:27:17.909" v="2326" actId="478"/>
          <ac:cxnSpMkLst>
            <pc:docMk/>
            <pc:sldMk cId="2884897170" sldId="270"/>
            <ac:cxnSpMk id="6" creationId="{A46F1BE7-96AE-A13E-5D29-67C386C09B83}"/>
          </ac:cxnSpMkLst>
        </pc:cxnChg>
        <pc:cxnChg chg="del">
          <ac:chgData name="Nakaya, Ryou" userId="b8aa65c8-0245-4e48-8589-05f519f206d6" providerId="ADAL" clId="{A730C313-24F1-496E-BEE1-C3C79FF4B390}" dt="2025-11-23T02:27:46.869" v="2058" actId="478"/>
          <ac:cxnSpMkLst>
            <pc:docMk/>
            <pc:sldMk cId="2884897170" sldId="270"/>
            <ac:cxnSpMk id="20" creationId="{87318D23-5754-7966-23D4-DF667DC2BE7C}"/>
          </ac:cxnSpMkLst>
        </pc:cxnChg>
      </pc:sldChg>
      <pc:sldChg chg="addSp delSp modSp mod ord">
        <pc:chgData name="Nakaya, Ryou" userId="b8aa65c8-0245-4e48-8589-05f519f206d6" providerId="ADAL" clId="{A730C313-24F1-496E-BEE1-C3C79FF4B390}" dt="2025-11-23T03:24:31.345" v="2314" actId="1076"/>
        <pc:sldMkLst>
          <pc:docMk/>
          <pc:sldMk cId="1547452692" sldId="271"/>
        </pc:sldMkLst>
        <pc:spChg chg="del">
          <ac:chgData name="Nakaya, Ryou" userId="b8aa65c8-0245-4e48-8589-05f519f206d6" providerId="ADAL" clId="{A730C313-24F1-496E-BEE1-C3C79FF4B390}" dt="2025-11-23T03:23:12.118" v="2277" actId="478"/>
          <ac:spMkLst>
            <pc:docMk/>
            <pc:sldMk cId="1547452692" sldId="271"/>
            <ac:spMk id="2" creationId="{DF543035-EFAF-1824-AC27-047F14100F68}"/>
          </ac:spMkLst>
        </pc:spChg>
        <pc:spChg chg="add mod">
          <ac:chgData name="Nakaya, Ryou" userId="b8aa65c8-0245-4e48-8589-05f519f206d6" providerId="ADAL" clId="{A730C313-24F1-496E-BEE1-C3C79FF4B390}" dt="2025-11-23T02:29:25.619" v="2069" actId="14100"/>
          <ac:spMkLst>
            <pc:docMk/>
            <pc:sldMk cId="1547452692" sldId="271"/>
            <ac:spMk id="3" creationId="{BC5C487E-0C44-FAC0-143B-509348F0606C}"/>
          </ac:spMkLst>
        </pc:spChg>
        <pc:spChg chg="add mod">
          <ac:chgData name="Nakaya, Ryou" userId="b8aa65c8-0245-4e48-8589-05f519f206d6" providerId="ADAL" clId="{A730C313-24F1-496E-BEE1-C3C79FF4B390}" dt="2025-11-23T02:29:36.400" v="2072" actId="14100"/>
          <ac:spMkLst>
            <pc:docMk/>
            <pc:sldMk cId="1547452692" sldId="271"/>
            <ac:spMk id="4" creationId="{101BAF97-A659-EBE4-A025-5F7FD25BA062}"/>
          </ac:spMkLst>
        </pc:spChg>
        <pc:spChg chg="add mod">
          <ac:chgData name="Nakaya, Ryou" userId="b8aa65c8-0245-4e48-8589-05f519f206d6" providerId="ADAL" clId="{A730C313-24F1-496E-BEE1-C3C79FF4B390}" dt="2025-11-23T02:29:45.123" v="2075" actId="14100"/>
          <ac:spMkLst>
            <pc:docMk/>
            <pc:sldMk cId="1547452692" sldId="271"/>
            <ac:spMk id="6" creationId="{2AF360C0-B2B6-1561-F41D-D96C8CD4B0CD}"/>
          </ac:spMkLst>
        </pc:spChg>
        <pc:spChg chg="add mod">
          <ac:chgData name="Nakaya, Ryou" userId="b8aa65c8-0245-4e48-8589-05f519f206d6" providerId="ADAL" clId="{A730C313-24F1-496E-BEE1-C3C79FF4B390}" dt="2025-11-23T02:29:54.509" v="2082" actId="1036"/>
          <ac:spMkLst>
            <pc:docMk/>
            <pc:sldMk cId="1547452692" sldId="271"/>
            <ac:spMk id="8" creationId="{CF1E0DD0-0B70-05F4-F303-CA085FC1D1F3}"/>
          </ac:spMkLst>
        </pc:spChg>
        <pc:spChg chg="add mod">
          <ac:chgData name="Nakaya, Ryou" userId="b8aa65c8-0245-4e48-8589-05f519f206d6" providerId="ADAL" clId="{A730C313-24F1-496E-BEE1-C3C79FF4B390}" dt="2025-11-23T03:21:31.499" v="2271" actId="14100"/>
          <ac:spMkLst>
            <pc:docMk/>
            <pc:sldMk cId="1547452692" sldId="271"/>
            <ac:spMk id="9" creationId="{234491BC-6747-6EA7-5F10-A4850D1BF6B4}"/>
          </ac:spMkLst>
        </pc:spChg>
        <pc:spChg chg="add mod">
          <ac:chgData name="Nakaya, Ryou" userId="b8aa65c8-0245-4e48-8589-05f519f206d6" providerId="ADAL" clId="{A730C313-24F1-496E-BEE1-C3C79FF4B390}" dt="2025-11-23T03:17:34.263" v="2199" actId="1582"/>
          <ac:spMkLst>
            <pc:docMk/>
            <pc:sldMk cId="1547452692" sldId="271"/>
            <ac:spMk id="19" creationId="{CCB9E70D-04C8-0F3E-44D5-079997B5D8D5}"/>
          </ac:spMkLst>
        </pc:spChg>
        <pc:spChg chg="add mod">
          <ac:chgData name="Nakaya, Ryou" userId="b8aa65c8-0245-4e48-8589-05f519f206d6" providerId="ADAL" clId="{A730C313-24F1-496E-BEE1-C3C79FF4B390}" dt="2025-11-23T03:18:17.653" v="2205" actId="208"/>
          <ac:spMkLst>
            <pc:docMk/>
            <pc:sldMk cId="1547452692" sldId="271"/>
            <ac:spMk id="20" creationId="{F1A3B417-E0DA-2E05-EB78-E6F295740A08}"/>
          </ac:spMkLst>
        </pc:spChg>
        <pc:spChg chg="add mod">
          <ac:chgData name="Nakaya, Ryou" userId="b8aa65c8-0245-4e48-8589-05f519f206d6" providerId="ADAL" clId="{A730C313-24F1-496E-BEE1-C3C79FF4B390}" dt="2025-11-23T03:18:51.594" v="2208" actId="14100"/>
          <ac:spMkLst>
            <pc:docMk/>
            <pc:sldMk cId="1547452692" sldId="271"/>
            <ac:spMk id="21" creationId="{826D2A45-F639-A2B1-C0D6-EFCB5B78B519}"/>
          </ac:spMkLst>
        </pc:spChg>
        <pc:spChg chg="add mod">
          <ac:chgData name="Nakaya, Ryou" userId="b8aa65c8-0245-4e48-8589-05f519f206d6" providerId="ADAL" clId="{A730C313-24F1-496E-BEE1-C3C79FF4B390}" dt="2025-11-23T03:19:07.408" v="2213" actId="14100"/>
          <ac:spMkLst>
            <pc:docMk/>
            <pc:sldMk cId="1547452692" sldId="271"/>
            <ac:spMk id="22" creationId="{2463DF27-9C2A-BA35-49FF-9650F578931A}"/>
          </ac:spMkLst>
        </pc:spChg>
        <pc:spChg chg="add mod">
          <ac:chgData name="Nakaya, Ryou" userId="b8aa65c8-0245-4e48-8589-05f519f206d6" providerId="ADAL" clId="{A730C313-24F1-496E-BEE1-C3C79FF4B390}" dt="2025-11-23T03:19:17.109" v="2216" actId="14100"/>
          <ac:spMkLst>
            <pc:docMk/>
            <pc:sldMk cId="1547452692" sldId="271"/>
            <ac:spMk id="23" creationId="{B8538CF0-3A82-4C61-9DFE-E00DB9206198}"/>
          </ac:spMkLst>
        </pc:spChg>
        <pc:spChg chg="add mod">
          <ac:chgData name="Nakaya, Ryou" userId="b8aa65c8-0245-4e48-8589-05f519f206d6" providerId="ADAL" clId="{A730C313-24F1-496E-BEE1-C3C79FF4B390}" dt="2025-11-23T03:24:31.345" v="2314" actId="1076"/>
          <ac:spMkLst>
            <pc:docMk/>
            <pc:sldMk cId="1547452692" sldId="271"/>
            <ac:spMk id="24" creationId="{B2BD2E97-7BA0-2EF4-34DF-15C0EB0EA96E}"/>
          </ac:spMkLst>
        </pc:spChg>
        <pc:spChg chg="add mod">
          <ac:chgData name="Nakaya, Ryou" userId="b8aa65c8-0245-4e48-8589-05f519f206d6" providerId="ADAL" clId="{A730C313-24F1-496E-BEE1-C3C79FF4B390}" dt="2025-11-23T03:23:03.551" v="2276" actId="1582"/>
          <ac:spMkLst>
            <pc:docMk/>
            <pc:sldMk cId="1547452692" sldId="271"/>
            <ac:spMk id="25" creationId="{B5E5C635-DE21-62E0-564B-F7AA3B8B3F7E}"/>
          </ac:spMkLst>
        </pc:spChg>
        <pc:spChg chg="add mod">
          <ac:chgData name="Nakaya, Ryou" userId="b8aa65c8-0245-4e48-8589-05f519f206d6" providerId="ADAL" clId="{A730C313-24F1-496E-BEE1-C3C79FF4B390}" dt="2025-11-23T03:23:58.724" v="2313" actId="14100"/>
          <ac:spMkLst>
            <pc:docMk/>
            <pc:sldMk cId="1547452692" sldId="271"/>
            <ac:spMk id="26" creationId="{28ACA0AB-F1C9-2CDC-862F-1A68ED5762E4}"/>
          </ac:spMkLst>
        </pc:spChg>
        <pc:picChg chg="mod">
          <ac:chgData name="Nakaya, Ryou" userId="b8aa65c8-0245-4e48-8589-05f519f206d6" providerId="ADAL" clId="{A730C313-24F1-496E-BEE1-C3C79FF4B390}" dt="2025-11-23T03:18:57.571" v="2211" actId="1076"/>
          <ac:picMkLst>
            <pc:docMk/>
            <pc:sldMk cId="1547452692" sldId="271"/>
            <ac:picMk id="5" creationId="{26B4A5FA-1940-0E7D-CC6E-EC91057B4F81}"/>
          </ac:picMkLst>
        </pc:picChg>
        <pc:inkChg chg="add">
          <ac:chgData name="Nakaya, Ryou" userId="b8aa65c8-0245-4e48-8589-05f519f206d6" providerId="ADAL" clId="{A730C313-24F1-496E-BEE1-C3C79FF4B390}" dt="2025-11-23T02:31:36.046" v="2171" actId="9405"/>
          <ac:inkMkLst>
            <pc:docMk/>
            <pc:sldMk cId="1547452692" sldId="271"/>
            <ac:inkMk id="10" creationId="{18FAE177-B79D-5613-C4FA-81C07F8510E1}"/>
          </ac:inkMkLst>
        </pc:inkChg>
        <pc:inkChg chg="add">
          <ac:chgData name="Nakaya, Ryou" userId="b8aa65c8-0245-4e48-8589-05f519f206d6" providerId="ADAL" clId="{A730C313-24F1-496E-BEE1-C3C79FF4B390}" dt="2025-11-23T02:31:39.760" v="2172" actId="9405"/>
          <ac:inkMkLst>
            <pc:docMk/>
            <pc:sldMk cId="1547452692" sldId="271"/>
            <ac:inkMk id="11" creationId="{57569691-982D-7D01-68C0-C6703E3AEFCA}"/>
          </ac:inkMkLst>
        </pc:inkChg>
        <pc:inkChg chg="add">
          <ac:chgData name="Nakaya, Ryou" userId="b8aa65c8-0245-4e48-8589-05f519f206d6" providerId="ADAL" clId="{A730C313-24F1-496E-BEE1-C3C79FF4B390}" dt="2025-11-23T02:31:41.982" v="2173" actId="9405"/>
          <ac:inkMkLst>
            <pc:docMk/>
            <pc:sldMk cId="1547452692" sldId="271"/>
            <ac:inkMk id="12" creationId="{40FE16DE-AA0D-8868-8515-F6859ACED8CF}"/>
          </ac:inkMkLst>
        </pc:inkChg>
        <pc:inkChg chg="add">
          <ac:chgData name="Nakaya, Ryou" userId="b8aa65c8-0245-4e48-8589-05f519f206d6" providerId="ADAL" clId="{A730C313-24F1-496E-BEE1-C3C79FF4B390}" dt="2025-11-23T02:31:44.624" v="2174" actId="9405"/>
          <ac:inkMkLst>
            <pc:docMk/>
            <pc:sldMk cId="1547452692" sldId="271"/>
            <ac:inkMk id="13" creationId="{8B2455CD-E5E3-F995-6072-ACEBB3BD90EF}"/>
          </ac:inkMkLst>
        </pc:inkChg>
        <pc:inkChg chg="add">
          <ac:chgData name="Nakaya, Ryou" userId="b8aa65c8-0245-4e48-8589-05f519f206d6" providerId="ADAL" clId="{A730C313-24F1-496E-BEE1-C3C79FF4B390}" dt="2025-11-23T02:31:46.553" v="2175" actId="9405"/>
          <ac:inkMkLst>
            <pc:docMk/>
            <pc:sldMk cId="1547452692" sldId="271"/>
            <ac:inkMk id="14" creationId="{D35E54A4-882E-FA15-0AED-BD31269C21BB}"/>
          </ac:inkMkLst>
        </pc:inkChg>
        <pc:inkChg chg="add del">
          <ac:chgData name="Nakaya, Ryou" userId="b8aa65c8-0245-4e48-8589-05f519f206d6" providerId="ADAL" clId="{A730C313-24F1-496E-BEE1-C3C79FF4B390}" dt="2025-11-23T02:31:48.529" v="2177"/>
          <ac:inkMkLst>
            <pc:docMk/>
            <pc:sldMk cId="1547452692" sldId="271"/>
            <ac:inkMk id="15" creationId="{573361B3-2948-B533-9133-EF4844405103}"/>
          </ac:inkMkLst>
        </pc:inkChg>
        <pc:inkChg chg="add mod">
          <ac:chgData name="Nakaya, Ryou" userId="b8aa65c8-0245-4e48-8589-05f519f206d6" providerId="ADAL" clId="{A730C313-24F1-496E-BEE1-C3C79FF4B390}" dt="2025-11-23T02:31:48.854" v="2178"/>
          <ac:inkMkLst>
            <pc:docMk/>
            <pc:sldMk cId="1547452692" sldId="271"/>
            <ac:inkMk id="16" creationId="{95C6F571-774C-E055-25DB-B78056B5AD60}"/>
          </ac:inkMkLst>
        </pc:inkChg>
        <pc:inkChg chg="add">
          <ac:chgData name="Nakaya, Ryou" userId="b8aa65c8-0245-4e48-8589-05f519f206d6" providerId="ADAL" clId="{A730C313-24F1-496E-BEE1-C3C79FF4B390}" dt="2025-11-23T02:31:51.213" v="2179" actId="9405"/>
          <ac:inkMkLst>
            <pc:docMk/>
            <pc:sldMk cId="1547452692" sldId="271"/>
            <ac:inkMk id="17" creationId="{A6D4A8E0-E7FE-AF42-BA03-81AFBD199A6B}"/>
          </ac:inkMkLst>
        </pc:inkChg>
        <pc:inkChg chg="add">
          <ac:chgData name="Nakaya, Ryou" userId="b8aa65c8-0245-4e48-8589-05f519f206d6" providerId="ADAL" clId="{A730C313-24F1-496E-BEE1-C3C79FF4B390}" dt="2025-11-23T02:31:53.304" v="2180" actId="9405"/>
          <ac:inkMkLst>
            <pc:docMk/>
            <pc:sldMk cId="1547452692" sldId="271"/>
            <ac:inkMk id="18" creationId="{7D933669-4628-3091-BA86-08BF1901B0C0}"/>
          </ac:inkMkLst>
        </pc:inkChg>
      </pc:sldChg>
      <pc:sldChg chg="addSp delSp modSp add mod">
        <pc:chgData name="Nakaya, Ryou" userId="b8aa65c8-0245-4e48-8589-05f519f206d6" providerId="ADAL" clId="{A730C313-24F1-496E-BEE1-C3C79FF4B390}" dt="2025-11-23T03:40:38.920" v="3018" actId="20577"/>
        <pc:sldMkLst>
          <pc:docMk/>
          <pc:sldMk cId="484869389" sldId="272"/>
        </pc:sldMkLst>
        <pc:spChg chg="add del mod">
          <ac:chgData name="Nakaya, Ryou" userId="b8aa65c8-0245-4e48-8589-05f519f206d6" providerId="ADAL" clId="{A730C313-24F1-496E-BEE1-C3C79FF4B390}" dt="2025-11-23T03:40:38.920" v="3018" actId="20577"/>
          <ac:spMkLst>
            <pc:docMk/>
            <pc:sldMk cId="484869389" sldId="272"/>
            <ac:spMk id="2" creationId="{0E4F551F-E441-57E4-5ED8-DEC69400945F}"/>
          </ac:spMkLst>
        </pc:spChg>
        <pc:spChg chg="add mod">
          <ac:chgData name="Nakaya, Ryou" userId="b8aa65c8-0245-4e48-8589-05f519f206d6" providerId="ADAL" clId="{A730C313-24F1-496E-BEE1-C3C79FF4B390}" dt="2025-11-23T01:06:36.730" v="507" actId="14100"/>
          <ac:spMkLst>
            <pc:docMk/>
            <pc:sldMk cId="484869389" sldId="272"/>
            <ac:spMk id="3" creationId="{C75EC302-2819-30B0-7696-974CEBD3104C}"/>
          </ac:spMkLst>
        </pc:spChg>
        <pc:spChg chg="add del mod">
          <ac:chgData name="Nakaya, Ryou" userId="b8aa65c8-0245-4e48-8589-05f519f206d6" providerId="ADAL" clId="{A730C313-24F1-496E-BEE1-C3C79FF4B390}" dt="2025-11-23T01:41:24.155" v="1097" actId="478"/>
          <ac:spMkLst>
            <pc:docMk/>
            <pc:sldMk cId="484869389" sldId="272"/>
            <ac:spMk id="13" creationId="{97EC7829-CD40-6BDD-FC7D-125ACB2AD5E9}"/>
          </ac:spMkLst>
        </pc:spChg>
        <pc:picChg chg="mod">
          <ac:chgData name="Nakaya, Ryou" userId="b8aa65c8-0245-4e48-8589-05f519f206d6" providerId="ADAL" clId="{A730C313-24F1-496E-BEE1-C3C79FF4B390}" dt="2025-11-23T01:05:53.258" v="467" actId="1076"/>
          <ac:picMkLst>
            <pc:docMk/>
            <pc:sldMk cId="484869389" sldId="272"/>
            <ac:picMk id="11" creationId="{22724BCF-ADED-D98C-6223-60E51CC39335}"/>
          </ac:picMkLst>
        </pc:picChg>
        <pc:cxnChg chg="add mod">
          <ac:chgData name="Nakaya, Ryou" userId="b8aa65c8-0245-4e48-8589-05f519f206d6" providerId="ADAL" clId="{A730C313-24F1-496E-BEE1-C3C79FF4B390}" dt="2025-11-23T01:15:51.509" v="805" actId="14100"/>
          <ac:cxnSpMkLst>
            <pc:docMk/>
            <pc:sldMk cId="484869389" sldId="272"/>
            <ac:cxnSpMk id="5" creationId="{E02A42B5-D6E8-177A-0DA0-73AEFD8E0AF9}"/>
          </ac:cxnSpMkLst>
        </pc:cxnChg>
        <pc:cxnChg chg="add mod">
          <ac:chgData name="Nakaya, Ryou" userId="b8aa65c8-0245-4e48-8589-05f519f206d6" providerId="ADAL" clId="{A730C313-24F1-496E-BEE1-C3C79FF4B390}" dt="2025-11-23T01:12:47.330" v="593" actId="14100"/>
          <ac:cxnSpMkLst>
            <pc:docMk/>
            <pc:sldMk cId="484869389" sldId="272"/>
            <ac:cxnSpMk id="7" creationId="{CFA07727-B1DE-1A11-C1D7-D728F1322B69}"/>
          </ac:cxnSpMkLst>
        </pc:cxnChg>
      </pc:sldChg>
      <pc:sldChg chg="del">
        <pc:chgData name="Nakaya, Ryou" userId="b8aa65c8-0245-4e48-8589-05f519f206d6" providerId="ADAL" clId="{A730C313-24F1-496E-BEE1-C3C79FF4B390}" dt="2025-11-23T00:56:40.220" v="271" actId="47"/>
        <pc:sldMkLst>
          <pc:docMk/>
          <pc:sldMk cId="2729591312" sldId="272"/>
        </pc:sldMkLst>
      </pc:sldChg>
      <pc:sldChg chg="addSp delSp modSp add mod">
        <pc:chgData name="Nakaya, Ryou" userId="b8aa65c8-0245-4e48-8589-05f519f206d6" providerId="ADAL" clId="{A730C313-24F1-496E-BEE1-C3C79FF4B390}" dt="2025-11-23T03:40:46.348" v="3023" actId="1076"/>
        <pc:sldMkLst>
          <pc:docMk/>
          <pc:sldMk cId="1258399962" sldId="273"/>
        </pc:sldMkLst>
        <pc:spChg chg="add del mod">
          <ac:chgData name="Nakaya, Ryou" userId="b8aa65c8-0245-4e48-8589-05f519f206d6" providerId="ADAL" clId="{A730C313-24F1-496E-BEE1-C3C79FF4B390}" dt="2025-11-23T03:40:41.771" v="3022" actId="20577"/>
          <ac:spMkLst>
            <pc:docMk/>
            <pc:sldMk cId="1258399962" sldId="273"/>
            <ac:spMk id="2" creationId="{47C9A640-0FC0-5408-FD73-3AA5BDEF32AF}"/>
          </ac:spMkLst>
        </pc:spChg>
        <pc:spChg chg="mod">
          <ac:chgData name="Nakaya, Ryou" userId="b8aa65c8-0245-4e48-8589-05f519f206d6" providerId="ADAL" clId="{A730C313-24F1-496E-BEE1-C3C79FF4B390}" dt="2025-11-23T03:40:46.348" v="3023" actId="1076"/>
          <ac:spMkLst>
            <pc:docMk/>
            <pc:sldMk cId="1258399962" sldId="273"/>
            <ac:spMk id="3" creationId="{05B25FD0-0FC1-B60A-B0B5-E88F1F912934}"/>
          </ac:spMkLst>
        </pc:spChg>
        <pc:spChg chg="add del mod">
          <ac:chgData name="Nakaya, Ryou" userId="b8aa65c8-0245-4e48-8589-05f519f206d6" providerId="ADAL" clId="{A730C313-24F1-496E-BEE1-C3C79FF4B390}" dt="2025-11-23T01:41:23.085" v="1095" actId="478"/>
          <ac:spMkLst>
            <pc:docMk/>
            <pc:sldMk cId="1258399962" sldId="273"/>
            <ac:spMk id="9" creationId="{8163F503-BFA6-78CD-5EE8-4B3968CE6F49}"/>
          </ac:spMkLst>
        </pc:spChg>
        <pc:cxnChg chg="add mod">
          <ac:chgData name="Nakaya, Ryou" userId="b8aa65c8-0245-4e48-8589-05f519f206d6" providerId="ADAL" clId="{A730C313-24F1-496E-BEE1-C3C79FF4B390}" dt="2025-11-23T01:13:01.011" v="596" actId="14100"/>
          <ac:cxnSpMkLst>
            <pc:docMk/>
            <pc:sldMk cId="1258399962" sldId="273"/>
            <ac:cxnSpMk id="4" creationId="{C4569097-7C48-45C9-C3D8-09326D870182}"/>
          </ac:cxnSpMkLst>
        </pc:cxnChg>
        <pc:cxnChg chg="del">
          <ac:chgData name="Nakaya, Ryou" userId="b8aa65c8-0245-4e48-8589-05f519f206d6" providerId="ADAL" clId="{A730C313-24F1-496E-BEE1-C3C79FF4B390}" dt="2025-11-23T01:08:22.016" v="543" actId="478"/>
          <ac:cxnSpMkLst>
            <pc:docMk/>
            <pc:sldMk cId="1258399962" sldId="273"/>
            <ac:cxnSpMk id="5" creationId="{512F943D-2B91-3AF2-F165-B85DDB896B7B}"/>
          </ac:cxnSpMkLst>
        </pc:cxnChg>
      </pc:sldChg>
      <pc:sldChg chg="del">
        <pc:chgData name="Nakaya, Ryou" userId="b8aa65c8-0245-4e48-8589-05f519f206d6" providerId="ADAL" clId="{A730C313-24F1-496E-BEE1-C3C79FF4B390}" dt="2025-11-23T00:56:40.220" v="271" actId="47"/>
        <pc:sldMkLst>
          <pc:docMk/>
          <pc:sldMk cId="4228658340" sldId="273"/>
        </pc:sldMkLst>
      </pc:sldChg>
      <pc:sldChg chg="modSp del mod">
        <pc:chgData name="Nakaya, Ryou" userId="b8aa65c8-0245-4e48-8589-05f519f206d6" providerId="ADAL" clId="{A730C313-24F1-496E-BEE1-C3C79FF4B390}" dt="2025-11-23T00:56:40.220" v="271" actId="47"/>
        <pc:sldMkLst>
          <pc:docMk/>
          <pc:sldMk cId="467994047" sldId="274"/>
        </pc:sldMkLst>
      </pc:sldChg>
      <pc:sldChg chg="addSp delSp modSp add mod">
        <pc:chgData name="Nakaya, Ryou" userId="b8aa65c8-0245-4e48-8589-05f519f206d6" providerId="ADAL" clId="{A730C313-24F1-496E-BEE1-C3C79FF4B390}" dt="2025-11-23T03:40:51.054" v="3027" actId="20577"/>
        <pc:sldMkLst>
          <pc:docMk/>
          <pc:sldMk cId="1220941667" sldId="274"/>
        </pc:sldMkLst>
        <pc:spChg chg="mod">
          <ac:chgData name="Nakaya, Ryou" userId="b8aa65c8-0245-4e48-8589-05f519f206d6" providerId="ADAL" clId="{A730C313-24F1-496E-BEE1-C3C79FF4B390}" dt="2025-11-23T03:40:51.054" v="3027" actId="20577"/>
          <ac:spMkLst>
            <pc:docMk/>
            <pc:sldMk cId="1220941667" sldId="274"/>
            <ac:spMk id="2" creationId="{511B40D7-A4ED-F44A-2144-6557DE4917F6}"/>
          </ac:spMkLst>
        </pc:spChg>
        <pc:spChg chg="mod ord">
          <ac:chgData name="Nakaya, Ryou" userId="b8aa65c8-0245-4e48-8589-05f519f206d6" providerId="ADAL" clId="{A730C313-24F1-496E-BEE1-C3C79FF4B390}" dt="2025-11-23T01:31:54.512" v="978" actId="14100"/>
          <ac:spMkLst>
            <pc:docMk/>
            <pc:sldMk cId="1220941667" sldId="274"/>
            <ac:spMk id="3" creationId="{88DFC93B-19EB-B8A0-5356-0790710C1059}"/>
          </ac:spMkLst>
        </pc:spChg>
        <pc:spChg chg="add mod">
          <ac:chgData name="Nakaya, Ryou" userId="b8aa65c8-0245-4e48-8589-05f519f206d6" providerId="ADAL" clId="{A730C313-24F1-496E-BEE1-C3C79FF4B390}" dt="2025-11-23T01:41:37.406" v="1098" actId="14100"/>
          <ac:spMkLst>
            <pc:docMk/>
            <pc:sldMk cId="1220941667" sldId="274"/>
            <ac:spMk id="16" creationId="{E8BC4041-42B1-E644-5BAE-6793CA122BB2}"/>
          </ac:spMkLst>
        </pc:spChg>
        <pc:picChg chg="add del mod modCrop">
          <ac:chgData name="Nakaya, Ryou" userId="b8aa65c8-0245-4e48-8589-05f519f206d6" providerId="ADAL" clId="{A730C313-24F1-496E-BEE1-C3C79FF4B390}" dt="2025-11-23T01:10:09.146" v="585" actId="21"/>
          <ac:picMkLst>
            <pc:docMk/>
            <pc:sldMk cId="1220941667" sldId="274"/>
            <ac:picMk id="5" creationId="{03CD2CC4-C239-7F37-AA07-4BC4B353F7CD}"/>
          </ac:picMkLst>
        </pc:picChg>
        <pc:picChg chg="add mod">
          <ac:chgData name="Nakaya, Ryou" userId="b8aa65c8-0245-4e48-8589-05f519f206d6" providerId="ADAL" clId="{A730C313-24F1-496E-BEE1-C3C79FF4B390}" dt="2025-11-23T01:10:17.770" v="589" actId="1076"/>
          <ac:picMkLst>
            <pc:docMk/>
            <pc:sldMk cId="1220941667" sldId="274"/>
            <ac:picMk id="6" creationId="{B8D3DC4E-D4FA-062C-8F7A-4B50E8AA5AE5}"/>
          </ac:picMkLst>
        </pc:picChg>
        <pc:picChg chg="del">
          <ac:chgData name="Nakaya, Ryou" userId="b8aa65c8-0245-4e48-8589-05f519f206d6" providerId="ADAL" clId="{A730C313-24F1-496E-BEE1-C3C79FF4B390}" dt="2025-11-23T01:09:27.948" v="581" actId="478"/>
          <ac:picMkLst>
            <pc:docMk/>
            <pc:sldMk cId="1220941667" sldId="274"/>
            <ac:picMk id="8" creationId="{0D318ACC-F8E1-E302-9688-ABC514ADC891}"/>
          </ac:picMkLst>
        </pc:picChg>
        <pc:cxnChg chg="add mod">
          <ac:chgData name="Nakaya, Ryou" userId="b8aa65c8-0245-4e48-8589-05f519f206d6" providerId="ADAL" clId="{A730C313-24F1-496E-BEE1-C3C79FF4B390}" dt="2025-11-23T01:25:45.845" v="814" actId="1037"/>
          <ac:cxnSpMkLst>
            <pc:docMk/>
            <pc:sldMk cId="1220941667" sldId="274"/>
            <ac:cxnSpMk id="7" creationId="{ECBC93BD-0259-BF8E-5A71-8C7E2B38FDB0}"/>
          </ac:cxnSpMkLst>
        </pc:cxnChg>
        <pc:cxnChg chg="add mod">
          <ac:chgData name="Nakaya, Ryou" userId="b8aa65c8-0245-4e48-8589-05f519f206d6" providerId="ADAL" clId="{A730C313-24F1-496E-BEE1-C3C79FF4B390}" dt="2025-11-23T01:15:58.091" v="807" actId="14100"/>
          <ac:cxnSpMkLst>
            <pc:docMk/>
            <pc:sldMk cId="1220941667" sldId="274"/>
            <ac:cxnSpMk id="9" creationId="{841C6189-4508-1642-5072-5F1D0BB87D54}"/>
          </ac:cxnSpMkLst>
        </pc:cxnChg>
        <pc:cxnChg chg="add mod">
          <ac:chgData name="Nakaya, Ryou" userId="b8aa65c8-0245-4e48-8589-05f519f206d6" providerId="ADAL" clId="{A730C313-24F1-496E-BEE1-C3C79FF4B390}" dt="2025-11-23T01:25:53.815" v="817" actId="14100"/>
          <ac:cxnSpMkLst>
            <pc:docMk/>
            <pc:sldMk cId="1220941667" sldId="274"/>
            <ac:cxnSpMk id="12" creationId="{A0ACA2F5-7DE5-3754-31ED-D5239EFEB971}"/>
          </ac:cxnSpMkLst>
        </pc:cxnChg>
        <pc:cxnChg chg="add mod">
          <ac:chgData name="Nakaya, Ryou" userId="b8aa65c8-0245-4e48-8589-05f519f206d6" providerId="ADAL" clId="{A730C313-24F1-496E-BEE1-C3C79FF4B390}" dt="2025-11-23T01:26:02.140" v="820" actId="14100"/>
          <ac:cxnSpMkLst>
            <pc:docMk/>
            <pc:sldMk cId="1220941667" sldId="274"/>
            <ac:cxnSpMk id="14" creationId="{71463A1C-BEC0-01C5-0137-F2236CDD708A}"/>
          </ac:cxnSpMkLst>
        </pc:cxnChg>
      </pc:sldChg>
      <pc:sldChg chg="addSp delSp modSp add mod">
        <pc:chgData name="Nakaya, Ryou" userId="b8aa65c8-0245-4e48-8589-05f519f206d6" providerId="ADAL" clId="{A730C313-24F1-496E-BEE1-C3C79FF4B390}" dt="2025-11-23T03:25:01.750" v="2318" actId="14100"/>
        <pc:sldMkLst>
          <pc:docMk/>
          <pc:sldMk cId="861467486" sldId="275"/>
        </pc:sldMkLst>
        <pc:spChg chg="mod">
          <ac:chgData name="Nakaya, Ryou" userId="b8aa65c8-0245-4e48-8589-05f519f206d6" providerId="ADAL" clId="{A730C313-24F1-496E-BEE1-C3C79FF4B390}" dt="2025-11-23T02:24:23.770" v="1953" actId="20577"/>
          <ac:spMkLst>
            <pc:docMk/>
            <pc:sldMk cId="861467486" sldId="275"/>
            <ac:spMk id="2" creationId="{722DED6B-68F9-C63C-4465-DA91602CEFF4}"/>
          </ac:spMkLst>
        </pc:spChg>
        <pc:spChg chg="add mod">
          <ac:chgData name="Nakaya, Ryou" userId="b8aa65c8-0245-4e48-8589-05f519f206d6" providerId="ADAL" clId="{A730C313-24F1-496E-BEE1-C3C79FF4B390}" dt="2025-11-23T02:26:37.687" v="2035" actId="1076"/>
          <ac:spMkLst>
            <pc:docMk/>
            <pc:sldMk cId="861467486" sldId="275"/>
            <ac:spMk id="6" creationId="{EE9BD93B-343C-A73F-70E1-3F4693387EEF}"/>
          </ac:spMkLst>
        </pc:spChg>
        <pc:spChg chg="add mod">
          <ac:chgData name="Nakaya, Ryou" userId="b8aa65c8-0245-4e48-8589-05f519f206d6" providerId="ADAL" clId="{A730C313-24F1-496E-BEE1-C3C79FF4B390}" dt="2025-11-23T02:27:11.437" v="2056" actId="1076"/>
          <ac:spMkLst>
            <pc:docMk/>
            <pc:sldMk cId="861467486" sldId="275"/>
            <ac:spMk id="7" creationId="{129E2AF5-A004-5357-7C1A-762CD9D063EC}"/>
          </ac:spMkLst>
        </pc:spChg>
        <pc:spChg chg="del">
          <ac:chgData name="Nakaya, Ryou" userId="b8aa65c8-0245-4e48-8589-05f519f206d6" providerId="ADAL" clId="{A730C313-24F1-496E-BEE1-C3C79FF4B390}" dt="2025-11-23T02:24:54.365" v="1965" actId="478"/>
          <ac:spMkLst>
            <pc:docMk/>
            <pc:sldMk cId="861467486" sldId="275"/>
            <ac:spMk id="19" creationId="{8C7A6BCF-0349-5D90-5E28-E0CC150AD2D9}"/>
          </ac:spMkLst>
        </pc:spChg>
        <pc:spChg chg="del">
          <ac:chgData name="Nakaya, Ryou" userId="b8aa65c8-0245-4e48-8589-05f519f206d6" providerId="ADAL" clId="{A730C313-24F1-496E-BEE1-C3C79FF4B390}" dt="2025-11-23T02:24:52.287" v="1963" actId="478"/>
          <ac:spMkLst>
            <pc:docMk/>
            <pc:sldMk cId="861467486" sldId="275"/>
            <ac:spMk id="29" creationId="{DE98F885-A31E-C088-A8CC-7603003FFB01}"/>
          </ac:spMkLst>
        </pc:spChg>
        <pc:picChg chg="add mod">
          <ac:chgData name="Nakaya, Ryou" userId="b8aa65c8-0245-4e48-8589-05f519f206d6" providerId="ADAL" clId="{A730C313-24F1-496E-BEE1-C3C79FF4B390}" dt="2025-11-23T02:26:43.433" v="2038" actId="1076"/>
          <ac:picMkLst>
            <pc:docMk/>
            <pc:sldMk cId="861467486" sldId="275"/>
            <ac:picMk id="3" creationId="{537BD30F-01AC-727A-4995-229900E72613}"/>
          </ac:picMkLst>
        </pc:picChg>
        <pc:picChg chg="del">
          <ac:chgData name="Nakaya, Ryou" userId="b8aa65c8-0245-4e48-8589-05f519f206d6" providerId="ADAL" clId="{A730C313-24F1-496E-BEE1-C3C79FF4B390}" dt="2025-11-23T02:24:36.194" v="1962" actId="478"/>
          <ac:picMkLst>
            <pc:docMk/>
            <pc:sldMk cId="861467486" sldId="275"/>
            <ac:picMk id="15" creationId="{2B791865-92EE-9953-B5B8-3326FBC1F889}"/>
          </ac:picMkLst>
        </pc:picChg>
        <pc:picChg chg="del">
          <ac:chgData name="Nakaya, Ryou" userId="b8aa65c8-0245-4e48-8589-05f519f206d6" providerId="ADAL" clId="{A730C313-24F1-496E-BEE1-C3C79FF4B390}" dt="2025-11-23T02:24:53.098" v="1964" actId="478"/>
          <ac:picMkLst>
            <pc:docMk/>
            <pc:sldMk cId="861467486" sldId="275"/>
            <ac:picMk id="18" creationId="{D74A908A-C8A6-D712-AEF0-42A38F5D85DC}"/>
          </ac:picMkLst>
        </pc:picChg>
        <pc:picChg chg="del">
          <ac:chgData name="Nakaya, Ryou" userId="b8aa65c8-0245-4e48-8589-05f519f206d6" providerId="ADAL" clId="{A730C313-24F1-496E-BEE1-C3C79FF4B390}" dt="2025-11-23T02:24:35.619" v="1961" actId="478"/>
          <ac:picMkLst>
            <pc:docMk/>
            <pc:sldMk cId="861467486" sldId="275"/>
            <ac:picMk id="24" creationId="{E662BD55-556A-591A-ED9C-B39126ABCC16}"/>
          </ac:picMkLst>
        </pc:picChg>
        <pc:picChg chg="del">
          <ac:chgData name="Nakaya, Ryou" userId="b8aa65c8-0245-4e48-8589-05f519f206d6" providerId="ADAL" clId="{A730C313-24F1-496E-BEE1-C3C79FF4B390}" dt="2025-11-23T02:24:35.108" v="1960" actId="478"/>
          <ac:picMkLst>
            <pc:docMk/>
            <pc:sldMk cId="861467486" sldId="275"/>
            <ac:picMk id="25" creationId="{9194EE80-52BE-8EBD-6987-11AE141E1796}"/>
          </ac:picMkLst>
        </pc:picChg>
        <pc:picChg chg="del">
          <ac:chgData name="Nakaya, Ryou" userId="b8aa65c8-0245-4e48-8589-05f519f206d6" providerId="ADAL" clId="{A730C313-24F1-496E-BEE1-C3C79FF4B390}" dt="2025-11-23T02:24:34.598" v="1959" actId="478"/>
          <ac:picMkLst>
            <pc:docMk/>
            <pc:sldMk cId="861467486" sldId="275"/>
            <ac:picMk id="26" creationId="{B41EADB2-2BCD-3659-E907-E2C17B0E4C6B}"/>
          </ac:picMkLst>
        </pc:picChg>
        <pc:cxnChg chg="add mod">
          <ac:chgData name="Nakaya, Ryou" userId="b8aa65c8-0245-4e48-8589-05f519f206d6" providerId="ADAL" clId="{A730C313-24F1-496E-BEE1-C3C79FF4B390}" dt="2025-11-23T02:25:34.126" v="1978" actId="1035"/>
          <ac:cxnSpMkLst>
            <pc:docMk/>
            <pc:sldMk cId="861467486" sldId="275"/>
            <ac:cxnSpMk id="4" creationId="{5CD9BFBA-8124-D634-A795-2E338763B87A}"/>
          </ac:cxnSpMkLst>
        </pc:cxnChg>
        <pc:cxnChg chg="add mod">
          <ac:chgData name="Nakaya, Ryou" userId="b8aa65c8-0245-4e48-8589-05f519f206d6" providerId="ADAL" clId="{A730C313-24F1-496E-BEE1-C3C79FF4B390}" dt="2025-11-23T03:25:01.750" v="2318" actId="14100"/>
          <ac:cxnSpMkLst>
            <pc:docMk/>
            <pc:sldMk cId="861467486" sldId="275"/>
            <ac:cxnSpMk id="9" creationId="{E1C7E728-306B-07F7-7F46-F3265E8B2042}"/>
          </ac:cxnSpMkLst>
        </pc:cxnChg>
        <pc:cxnChg chg="del">
          <ac:chgData name="Nakaya, Ryou" userId="b8aa65c8-0245-4e48-8589-05f519f206d6" providerId="ADAL" clId="{A730C313-24F1-496E-BEE1-C3C79FF4B390}" dt="2025-11-23T02:24:30.741" v="1954" actId="478"/>
          <ac:cxnSpMkLst>
            <pc:docMk/>
            <pc:sldMk cId="861467486" sldId="275"/>
            <ac:cxnSpMk id="10" creationId="{9BC73E83-97AD-D096-C852-2C9BD03F2C98}"/>
          </ac:cxnSpMkLst>
        </pc:cxnChg>
        <pc:cxnChg chg="del">
          <ac:chgData name="Nakaya, Ryou" userId="b8aa65c8-0245-4e48-8589-05f519f206d6" providerId="ADAL" clId="{A730C313-24F1-496E-BEE1-C3C79FF4B390}" dt="2025-11-23T02:24:31.712" v="1955" actId="478"/>
          <ac:cxnSpMkLst>
            <pc:docMk/>
            <pc:sldMk cId="861467486" sldId="275"/>
            <ac:cxnSpMk id="27" creationId="{3495C047-B92C-DB88-7C09-2523975502A8}"/>
          </ac:cxnSpMkLst>
        </pc:cxnChg>
        <pc:cxnChg chg="del">
          <ac:chgData name="Nakaya, Ryou" userId="b8aa65c8-0245-4e48-8589-05f519f206d6" providerId="ADAL" clId="{A730C313-24F1-496E-BEE1-C3C79FF4B390}" dt="2025-11-23T02:24:32.603" v="1956" actId="478"/>
          <ac:cxnSpMkLst>
            <pc:docMk/>
            <pc:sldMk cId="861467486" sldId="275"/>
            <ac:cxnSpMk id="28" creationId="{2740F443-3D8F-1F45-8652-EFF08C416EC5}"/>
          </ac:cxnSpMkLst>
        </pc:cxnChg>
        <pc:cxnChg chg="del">
          <ac:chgData name="Nakaya, Ryou" userId="b8aa65c8-0245-4e48-8589-05f519f206d6" providerId="ADAL" clId="{A730C313-24F1-496E-BEE1-C3C79FF4B390}" dt="2025-11-23T02:24:33.292" v="1957" actId="478"/>
          <ac:cxnSpMkLst>
            <pc:docMk/>
            <pc:sldMk cId="861467486" sldId="275"/>
            <ac:cxnSpMk id="30" creationId="{0CEAF72B-FAC9-3A5F-4248-18D9E6D32CE0}"/>
          </ac:cxnSpMkLst>
        </pc:cxnChg>
        <pc:cxnChg chg="del">
          <ac:chgData name="Nakaya, Ryou" userId="b8aa65c8-0245-4e48-8589-05f519f206d6" providerId="ADAL" clId="{A730C313-24F1-496E-BEE1-C3C79FF4B390}" dt="2025-11-23T02:24:34.136" v="1958" actId="478"/>
          <ac:cxnSpMkLst>
            <pc:docMk/>
            <pc:sldMk cId="861467486" sldId="275"/>
            <ac:cxnSpMk id="31" creationId="{2A495CBF-7AA3-000D-9994-D873A488368B}"/>
          </ac:cxnSpMkLst>
        </pc:cxnChg>
      </pc:sldChg>
      <pc:sldChg chg="modSp del mod">
        <pc:chgData name="Nakaya, Ryou" userId="b8aa65c8-0245-4e48-8589-05f519f206d6" providerId="ADAL" clId="{A730C313-24F1-496E-BEE1-C3C79FF4B390}" dt="2025-11-23T00:56:40.220" v="271" actId="47"/>
        <pc:sldMkLst>
          <pc:docMk/>
          <pc:sldMk cId="1017546885" sldId="275"/>
        </pc:sldMkLst>
      </pc:sldChg>
      <pc:sldChg chg="modSp del mod">
        <pc:chgData name="Nakaya, Ryou" userId="b8aa65c8-0245-4e48-8589-05f519f206d6" providerId="ADAL" clId="{A730C313-24F1-496E-BEE1-C3C79FF4B390}" dt="2025-11-23T00:56:40.220" v="271" actId="47"/>
        <pc:sldMkLst>
          <pc:docMk/>
          <pc:sldMk cId="386483652" sldId="276"/>
        </pc:sldMkLst>
      </pc:sldChg>
      <pc:sldChg chg="add del">
        <pc:chgData name="Nakaya, Ryou" userId="b8aa65c8-0245-4e48-8589-05f519f206d6" providerId="ADAL" clId="{A730C313-24F1-496E-BEE1-C3C79FF4B390}" dt="2025-11-23T02:05:18.395" v="1919" actId="47"/>
        <pc:sldMkLst>
          <pc:docMk/>
          <pc:sldMk cId="4239490861" sldId="276"/>
        </pc:sldMkLst>
      </pc:sldChg>
      <pc:sldChg chg="addSp modSp add mod">
        <pc:chgData name="Nakaya, Ryou" userId="b8aa65c8-0245-4e48-8589-05f519f206d6" providerId="ADAL" clId="{A730C313-24F1-496E-BEE1-C3C79FF4B390}" dt="2025-11-23T02:19:36.320" v="1930" actId="14100"/>
        <pc:sldMkLst>
          <pc:docMk/>
          <pc:sldMk cId="246094259" sldId="277"/>
        </pc:sldMkLst>
        <pc:spChg chg="mod">
          <ac:chgData name="Nakaya, Ryou" userId="b8aa65c8-0245-4e48-8589-05f519f206d6" providerId="ADAL" clId="{A730C313-24F1-496E-BEE1-C3C79FF4B390}" dt="2025-11-23T02:03:02.608" v="1797" actId="14100"/>
          <ac:spMkLst>
            <pc:docMk/>
            <pc:sldMk cId="246094259" sldId="277"/>
            <ac:spMk id="6" creationId="{0F93C61C-391C-9A2A-72FC-91F1A5C08485}"/>
          </ac:spMkLst>
        </pc:spChg>
        <pc:cxnChg chg="add mod">
          <ac:chgData name="Nakaya, Ryou" userId="b8aa65c8-0245-4e48-8589-05f519f206d6" providerId="ADAL" clId="{A730C313-24F1-496E-BEE1-C3C79FF4B390}" dt="2025-11-23T02:19:36.320" v="1930" actId="14100"/>
          <ac:cxnSpMkLst>
            <pc:docMk/>
            <pc:sldMk cId="246094259" sldId="277"/>
            <ac:cxnSpMk id="3" creationId="{30083F8D-F94E-7BBE-A7B6-C05E4819C828}"/>
          </ac:cxnSpMkLst>
        </pc:cxnChg>
      </pc:sldChg>
      <pc:sldChg chg="addSp delSp modSp add del mod">
        <pc:chgData name="Nakaya, Ryou" userId="b8aa65c8-0245-4e48-8589-05f519f206d6" providerId="ADAL" clId="{A730C313-24F1-496E-BEE1-C3C79FF4B390}" dt="2025-11-23T00:56:40.220" v="271" actId="47"/>
        <pc:sldMkLst>
          <pc:docMk/>
          <pc:sldMk cId="2853481228" sldId="277"/>
        </pc:sldMkLst>
      </pc:sldChg>
      <pc:sldChg chg="addSp modSp add mod">
        <pc:chgData name="Nakaya, Ryou" userId="b8aa65c8-0245-4e48-8589-05f519f206d6" providerId="ADAL" clId="{A730C313-24F1-496E-BEE1-C3C79FF4B390}" dt="2025-11-23T03:42:58.568" v="3078" actId="14100"/>
        <pc:sldMkLst>
          <pc:docMk/>
          <pc:sldMk cId="3224275016" sldId="278"/>
        </pc:sldMkLst>
        <pc:spChg chg="mod">
          <ac:chgData name="Nakaya, Ryou" userId="b8aa65c8-0245-4e48-8589-05f519f206d6" providerId="ADAL" clId="{A730C313-24F1-496E-BEE1-C3C79FF4B390}" dt="2025-11-23T03:42:44.545" v="3075" actId="1076"/>
          <ac:spMkLst>
            <pc:docMk/>
            <pc:sldMk cId="3224275016" sldId="278"/>
            <ac:spMk id="6" creationId="{E8DA9B09-2379-9815-9BAB-F41A0EA2A6F9}"/>
          </ac:spMkLst>
        </pc:spChg>
        <pc:picChg chg="add mod ord">
          <ac:chgData name="Nakaya, Ryou" userId="b8aa65c8-0245-4e48-8589-05f519f206d6" providerId="ADAL" clId="{A730C313-24F1-496E-BEE1-C3C79FF4B390}" dt="2025-11-23T02:24:07.902" v="1938" actId="1582"/>
          <ac:picMkLst>
            <pc:docMk/>
            <pc:sldMk cId="3224275016" sldId="278"/>
            <ac:picMk id="9" creationId="{FEC3445E-3A07-5537-44ED-60C20A4425FC}"/>
          </ac:picMkLst>
        </pc:picChg>
        <pc:cxnChg chg="mod">
          <ac:chgData name="Nakaya, Ryou" userId="b8aa65c8-0245-4e48-8589-05f519f206d6" providerId="ADAL" clId="{A730C313-24F1-496E-BEE1-C3C79FF4B390}" dt="2025-11-23T02:03:29.027" v="1800" actId="14100"/>
          <ac:cxnSpMkLst>
            <pc:docMk/>
            <pc:sldMk cId="3224275016" sldId="278"/>
            <ac:cxnSpMk id="7" creationId="{37E20907-9057-DEDA-44CA-6E008F24C2BD}"/>
          </ac:cxnSpMkLst>
        </pc:cxnChg>
        <pc:cxnChg chg="add mod">
          <ac:chgData name="Nakaya, Ryou" userId="b8aa65c8-0245-4e48-8589-05f519f206d6" providerId="ADAL" clId="{A730C313-24F1-496E-BEE1-C3C79FF4B390}" dt="2025-11-23T02:19:54.338" v="1936" actId="1076"/>
          <ac:cxnSpMkLst>
            <pc:docMk/>
            <pc:sldMk cId="3224275016" sldId="278"/>
            <ac:cxnSpMk id="11" creationId="{0DEE7182-29E0-FA21-DF42-C860087D7552}"/>
          </ac:cxnSpMkLst>
        </pc:cxnChg>
        <pc:cxnChg chg="add mod">
          <ac:chgData name="Nakaya, Ryou" userId="b8aa65c8-0245-4e48-8589-05f519f206d6" providerId="ADAL" clId="{A730C313-24F1-496E-BEE1-C3C79FF4B390}" dt="2025-11-23T03:42:58.568" v="3078" actId="14100"/>
          <ac:cxnSpMkLst>
            <pc:docMk/>
            <pc:sldMk cId="3224275016" sldId="278"/>
            <ac:cxnSpMk id="14" creationId="{9BC70380-D912-6EAB-B7FE-57E107F16E3B}"/>
          </ac:cxnSpMkLst>
        </pc:cxnChg>
      </pc:sldChg>
      <pc:sldChg chg="add del">
        <pc:chgData name="Nakaya, Ryou" userId="b8aa65c8-0245-4e48-8589-05f519f206d6" providerId="ADAL" clId="{A730C313-24F1-496E-BEE1-C3C79FF4B390}" dt="2025-11-23T03:26:54.253" v="2319" actId="47"/>
        <pc:sldMkLst>
          <pc:docMk/>
          <pc:sldMk cId="1935230655" sldId="279"/>
        </pc:sldMkLst>
      </pc:sldChg>
      <pc:sldChg chg="add del">
        <pc:chgData name="Nakaya, Ryou" userId="b8aa65c8-0245-4e48-8589-05f519f206d6" providerId="ADAL" clId="{A730C313-24F1-496E-BEE1-C3C79FF4B390}" dt="2025-11-23T03:24:40.951" v="2315" actId="47"/>
        <pc:sldMkLst>
          <pc:docMk/>
          <pc:sldMk cId="683370593" sldId="280"/>
        </pc:sldMkLst>
      </pc:sldChg>
    </pc:docChg>
  </pc:docChgLst>
  <pc:docChgLst>
    <pc:chgData name="山野辺　浩己/Yamanobe Hiroki" userId="S::yamanobe_ffa_mii.maruho.co.jp#ext#@novartis.onmicrosoft.com::e4048a2e-a6fd-42a1-8f8a-d73e99614a07" providerId="AD" clId="Web-{56335962-B487-FBB8-4A36-A12FE973B5ED}"/>
    <pc:docChg chg="addSld modSld sldOrd">
      <pc:chgData name="山野辺　浩己/Yamanobe Hiroki" userId="S::yamanobe_ffa_mii.maruho.co.jp#ext#@novartis.onmicrosoft.com::e4048a2e-a6fd-42a1-8f8a-d73e99614a07" providerId="AD" clId="Web-{56335962-B487-FBB8-4A36-A12FE973B5ED}" dt="2025-05-09T01:18:00.964" v="270"/>
      <pc:docMkLst>
        <pc:docMk/>
      </pc:docMkLst>
      <pc:sldChg chg="modSp ord">
        <pc:chgData name="山野辺　浩己/Yamanobe Hiroki" userId="S::yamanobe_ffa_mii.maruho.co.jp#ext#@novartis.onmicrosoft.com::e4048a2e-a6fd-42a1-8f8a-d73e99614a07" providerId="AD" clId="Web-{56335962-B487-FBB8-4A36-A12FE973B5ED}" dt="2025-05-09T01:10:12.835" v="132" actId="20577"/>
        <pc:sldMkLst>
          <pc:docMk/>
          <pc:sldMk cId="1797846283" sldId="259"/>
        </pc:sldMkLst>
      </pc:sldChg>
      <pc:sldChg chg="modSp">
        <pc:chgData name="山野辺　浩己/Yamanobe Hiroki" userId="S::yamanobe_ffa_mii.maruho.co.jp#ext#@novartis.onmicrosoft.com::e4048a2e-a6fd-42a1-8f8a-d73e99614a07" providerId="AD" clId="Web-{56335962-B487-FBB8-4A36-A12FE973B5ED}" dt="2025-05-09T01:16:27.413" v="262" actId="20577"/>
        <pc:sldMkLst>
          <pc:docMk/>
          <pc:sldMk cId="4267114507" sldId="260"/>
        </pc:sldMkLst>
      </pc:sldChg>
      <pc:sldChg chg="modSp ord">
        <pc:chgData name="山野辺　浩己/Yamanobe Hiroki" userId="S::yamanobe_ffa_mii.maruho.co.jp#ext#@novartis.onmicrosoft.com::e4048a2e-a6fd-42a1-8f8a-d73e99614a07" providerId="AD" clId="Web-{56335962-B487-FBB8-4A36-A12FE973B5ED}" dt="2025-05-09T01:18:00.964" v="270"/>
        <pc:sldMkLst>
          <pc:docMk/>
          <pc:sldMk cId="3037750064" sldId="261"/>
        </pc:sldMkLst>
      </pc:sldChg>
      <pc:sldChg chg="modSp ord">
        <pc:chgData name="山野辺　浩己/Yamanobe Hiroki" userId="S::yamanobe_ffa_mii.maruho.co.jp#ext#@novartis.onmicrosoft.com::e4048a2e-a6fd-42a1-8f8a-d73e99614a07" providerId="AD" clId="Web-{56335962-B487-FBB8-4A36-A12FE973B5ED}" dt="2025-05-09T01:09:30.474" v="111" actId="20577"/>
        <pc:sldMkLst>
          <pc:docMk/>
          <pc:sldMk cId="936369841" sldId="262"/>
        </pc:sldMkLst>
      </pc:sldChg>
      <pc:sldChg chg="modSp">
        <pc:chgData name="山野辺　浩己/Yamanobe Hiroki" userId="S::yamanobe_ffa_mii.maruho.co.jp#ext#@novartis.onmicrosoft.com::e4048a2e-a6fd-42a1-8f8a-d73e99614a07" providerId="AD" clId="Web-{56335962-B487-FBB8-4A36-A12FE973B5ED}" dt="2025-05-09T01:08:35.784" v="99" actId="20577"/>
        <pc:sldMkLst>
          <pc:docMk/>
          <pc:sldMk cId="1119354309" sldId="263"/>
        </pc:sldMkLst>
      </pc:sldChg>
      <pc:sldChg chg="modSp">
        <pc:chgData name="山野辺　浩己/Yamanobe Hiroki" userId="S::yamanobe_ffa_mii.maruho.co.jp#ext#@novartis.onmicrosoft.com::e4048a2e-a6fd-42a1-8f8a-d73e99614a07" providerId="AD" clId="Web-{56335962-B487-FBB8-4A36-A12FE973B5ED}" dt="2025-05-09T01:16:49.945" v="264" actId="20577"/>
        <pc:sldMkLst>
          <pc:docMk/>
          <pc:sldMk cId="2854242789" sldId="264"/>
        </pc:sldMkLst>
      </pc:sldChg>
      <pc:sldChg chg="modSp new ord">
        <pc:chgData name="山野辺　浩己/Yamanobe Hiroki" userId="S::yamanobe_ffa_mii.maruho.co.jp#ext#@novartis.onmicrosoft.com::e4048a2e-a6fd-42a1-8f8a-d73e99614a07" providerId="AD" clId="Web-{56335962-B487-FBB8-4A36-A12FE973B5ED}" dt="2025-05-09T01:15:41.880" v="252" actId="20577"/>
        <pc:sldMkLst>
          <pc:docMk/>
          <pc:sldMk cId="958246584" sldId="265"/>
        </pc:sldMkLst>
      </pc:sldChg>
      <pc:sldChg chg="modSp new ord">
        <pc:chgData name="山野辺　浩己/Yamanobe Hiroki" userId="S::yamanobe_ffa_mii.maruho.co.jp#ext#@novartis.onmicrosoft.com::e4048a2e-a6fd-42a1-8f8a-d73e99614a07" providerId="AD" clId="Web-{56335962-B487-FBB8-4A36-A12FE973B5ED}" dt="2025-05-09T01:17:49.073" v="269" actId="20577"/>
        <pc:sldMkLst>
          <pc:docMk/>
          <pc:sldMk cId="2799386021" sldId="266"/>
        </pc:sldMkLst>
      </pc:sldChg>
    </pc:docChg>
  </pc:docChgLst>
  <pc:docChgLst>
    <pc:chgData name="Nakaya, Ryou" userId="b8aa65c8-0245-4e48-8589-05f519f206d6" providerId="ADAL" clId="{2455E9EA-B358-4CF0-9745-F5C97E9CC6D6}"/>
    <pc:docChg chg="undo custSel addSld delSld modSld sldOrd">
      <pc:chgData name="Nakaya, Ryou" userId="b8aa65c8-0245-4e48-8589-05f519f206d6" providerId="ADAL" clId="{2455E9EA-B358-4CF0-9745-F5C97E9CC6D6}" dt="2025-05-15T08:13:52.003" v="1819" actId="20577"/>
      <pc:docMkLst>
        <pc:docMk/>
      </pc:docMkLst>
      <pc:sldChg chg="modSp mod">
        <pc:chgData name="Nakaya, Ryou" userId="b8aa65c8-0245-4e48-8589-05f519f206d6" providerId="ADAL" clId="{2455E9EA-B358-4CF0-9745-F5C97E9CC6D6}" dt="2025-05-12T04:17:27.048" v="28" actId="207"/>
        <pc:sldMkLst>
          <pc:docMk/>
          <pc:sldMk cId="613687232" sldId="256"/>
        </pc:sldMkLst>
      </pc:sldChg>
      <pc:sldChg chg="addSp modSp mod modAnim">
        <pc:chgData name="Nakaya, Ryou" userId="b8aa65c8-0245-4e48-8589-05f519f206d6" providerId="ADAL" clId="{2455E9EA-B358-4CF0-9745-F5C97E9CC6D6}" dt="2025-05-15T07:13:44.204" v="1598"/>
        <pc:sldMkLst>
          <pc:docMk/>
          <pc:sldMk cId="2604035569" sldId="257"/>
        </pc:sldMkLst>
      </pc:sldChg>
      <pc:sldChg chg="del">
        <pc:chgData name="Nakaya, Ryou" userId="b8aa65c8-0245-4e48-8589-05f519f206d6" providerId="ADAL" clId="{2455E9EA-B358-4CF0-9745-F5C97E9CC6D6}" dt="2025-05-12T08:16:09.428" v="1508" actId="47"/>
        <pc:sldMkLst>
          <pc:docMk/>
          <pc:sldMk cId="1797846283" sldId="259"/>
        </pc:sldMkLst>
      </pc:sldChg>
      <pc:sldChg chg="del">
        <pc:chgData name="Nakaya, Ryou" userId="b8aa65c8-0245-4e48-8589-05f519f206d6" providerId="ADAL" clId="{2455E9EA-B358-4CF0-9745-F5C97E9CC6D6}" dt="2025-05-12T04:29:51.952" v="583" actId="47"/>
        <pc:sldMkLst>
          <pc:docMk/>
          <pc:sldMk cId="4267114507" sldId="260"/>
        </pc:sldMkLst>
      </pc:sldChg>
      <pc:sldChg chg="del">
        <pc:chgData name="Nakaya, Ryou" userId="b8aa65c8-0245-4e48-8589-05f519f206d6" providerId="ADAL" clId="{2455E9EA-B358-4CF0-9745-F5C97E9CC6D6}" dt="2025-05-12T08:16:09.428" v="1508" actId="47"/>
        <pc:sldMkLst>
          <pc:docMk/>
          <pc:sldMk cId="3037750064" sldId="261"/>
        </pc:sldMkLst>
      </pc:sldChg>
      <pc:sldChg chg="del">
        <pc:chgData name="Nakaya, Ryou" userId="b8aa65c8-0245-4e48-8589-05f519f206d6" providerId="ADAL" clId="{2455E9EA-B358-4CF0-9745-F5C97E9CC6D6}" dt="2025-05-12T08:16:09.428" v="1508" actId="47"/>
        <pc:sldMkLst>
          <pc:docMk/>
          <pc:sldMk cId="936369841" sldId="262"/>
        </pc:sldMkLst>
      </pc:sldChg>
      <pc:sldChg chg="modSp mod ord">
        <pc:chgData name="Nakaya, Ryou" userId="b8aa65c8-0245-4e48-8589-05f519f206d6" providerId="ADAL" clId="{2455E9EA-B358-4CF0-9745-F5C97E9CC6D6}" dt="2025-05-12T07:03:28.719" v="754" actId="20577"/>
        <pc:sldMkLst>
          <pc:docMk/>
          <pc:sldMk cId="1119354309" sldId="263"/>
        </pc:sldMkLst>
      </pc:sldChg>
      <pc:sldChg chg="del">
        <pc:chgData name="Nakaya, Ryou" userId="b8aa65c8-0245-4e48-8589-05f519f206d6" providerId="ADAL" clId="{2455E9EA-B358-4CF0-9745-F5C97E9CC6D6}" dt="2025-05-12T08:16:13.241" v="1509" actId="47"/>
        <pc:sldMkLst>
          <pc:docMk/>
          <pc:sldMk cId="2854242789" sldId="264"/>
        </pc:sldMkLst>
      </pc:sldChg>
      <pc:sldChg chg="del">
        <pc:chgData name="Nakaya, Ryou" userId="b8aa65c8-0245-4e48-8589-05f519f206d6" providerId="ADAL" clId="{2455E9EA-B358-4CF0-9745-F5C97E9CC6D6}" dt="2025-05-12T08:16:04.249" v="1507" actId="47"/>
        <pc:sldMkLst>
          <pc:docMk/>
          <pc:sldMk cId="958246584" sldId="265"/>
        </pc:sldMkLst>
      </pc:sldChg>
      <pc:sldChg chg="del">
        <pc:chgData name="Nakaya, Ryou" userId="b8aa65c8-0245-4e48-8589-05f519f206d6" providerId="ADAL" clId="{2455E9EA-B358-4CF0-9745-F5C97E9CC6D6}" dt="2025-05-12T08:16:09.428" v="1508" actId="47"/>
        <pc:sldMkLst>
          <pc:docMk/>
          <pc:sldMk cId="2799386021" sldId="266"/>
        </pc:sldMkLst>
      </pc:sldChg>
      <pc:sldChg chg="modSp add mod">
        <pc:chgData name="Nakaya, Ryou" userId="b8aa65c8-0245-4e48-8589-05f519f206d6" providerId="ADAL" clId="{2455E9EA-B358-4CF0-9745-F5C97E9CC6D6}" dt="2025-05-12T07:04:37.020" v="817" actId="20577"/>
        <pc:sldMkLst>
          <pc:docMk/>
          <pc:sldMk cId="2704848973" sldId="267"/>
        </pc:sldMkLst>
      </pc:sldChg>
      <pc:sldChg chg="modSp add mod">
        <pc:chgData name="Nakaya, Ryou" userId="b8aa65c8-0245-4e48-8589-05f519f206d6" providerId="ADAL" clId="{2455E9EA-B358-4CF0-9745-F5C97E9CC6D6}" dt="2025-05-12T07:08:58.625" v="1000" actId="20577"/>
        <pc:sldMkLst>
          <pc:docMk/>
          <pc:sldMk cId="1167807583" sldId="268"/>
        </pc:sldMkLst>
      </pc:sldChg>
      <pc:sldChg chg="addSp delSp modSp new mod">
        <pc:chgData name="Nakaya, Ryou" userId="b8aa65c8-0245-4e48-8589-05f519f206d6" providerId="ADAL" clId="{2455E9EA-B358-4CF0-9745-F5C97E9CC6D6}" dt="2025-05-12T08:00:55.353" v="1033" actId="20577"/>
        <pc:sldMkLst>
          <pc:docMk/>
          <pc:sldMk cId="174742763" sldId="269"/>
        </pc:sldMkLst>
      </pc:sldChg>
      <pc:sldChg chg="addSp delSp modSp new mod">
        <pc:chgData name="Nakaya, Ryou" userId="b8aa65c8-0245-4e48-8589-05f519f206d6" providerId="ADAL" clId="{2455E9EA-B358-4CF0-9745-F5C97E9CC6D6}" dt="2025-05-15T08:13:52.003" v="1819" actId="20577"/>
        <pc:sldMkLst>
          <pc:docMk/>
          <pc:sldMk cId="819923049" sldId="270"/>
        </pc:sldMkLst>
      </pc:sldChg>
      <pc:sldChg chg="addSp delSp modSp add mod">
        <pc:chgData name="Nakaya, Ryou" userId="b8aa65c8-0245-4e48-8589-05f519f206d6" providerId="ADAL" clId="{2455E9EA-B358-4CF0-9745-F5C97E9CC6D6}" dt="2025-05-15T07:14:49.381" v="1605" actId="1076"/>
        <pc:sldMkLst>
          <pc:docMk/>
          <pc:sldMk cId="4060549447" sldId="271"/>
        </pc:sldMkLst>
      </pc:sldChg>
    </pc:docChg>
  </pc:docChgLst>
  <pc:docChgLst>
    <pc:chgData name="Nakaya, Ryou" userId="b8aa65c8-0245-4e48-8589-05f519f206d6" providerId="ADAL" clId="{6708A8FE-EEC2-4AAC-A847-7EFF3D28536B}"/>
    <pc:docChg chg="custSel addSld modSld">
      <pc:chgData name="Nakaya, Ryou" userId="b8aa65c8-0245-4e48-8589-05f519f206d6" providerId="ADAL" clId="{6708A8FE-EEC2-4AAC-A847-7EFF3D28536B}" dt="2025-04-04T01:30:53.062" v="1327" actId="20577"/>
      <pc:docMkLst>
        <pc:docMk/>
      </pc:docMkLst>
      <pc:sldChg chg="addSp modSp new mod setBg addAnim">
        <pc:chgData name="Nakaya, Ryou" userId="b8aa65c8-0245-4e48-8589-05f519f206d6" providerId="ADAL" clId="{6708A8FE-EEC2-4AAC-A847-7EFF3D28536B}" dt="2025-04-03T13:10:05.735" v="128"/>
        <pc:sldMkLst>
          <pc:docMk/>
          <pc:sldMk cId="613687232" sldId="256"/>
        </pc:sldMkLst>
      </pc:sldChg>
      <pc:sldChg chg="modSp new mod">
        <pc:chgData name="Nakaya, Ryou" userId="b8aa65c8-0245-4e48-8589-05f519f206d6" providerId="ADAL" clId="{6708A8FE-EEC2-4AAC-A847-7EFF3D28536B}" dt="2025-04-04T01:30:53.062" v="1327" actId="20577"/>
        <pc:sldMkLst>
          <pc:docMk/>
          <pc:sldMk cId="2604035569" sldId="257"/>
        </pc:sldMkLst>
      </pc:sldChg>
    </pc:docChg>
  </pc:docChgLst>
  <pc:docChgLst>
    <pc:chgData name="Nakaya, Ryou" userId="b8aa65c8-0245-4e48-8589-05f519f206d6" providerId="ADAL" clId="{18D7DB16-7D12-464B-AFFC-073CD6D958F7}"/>
    <pc:docChg chg="undo custSel addSld delSld modSld">
      <pc:chgData name="Nakaya, Ryou" userId="b8aa65c8-0245-4e48-8589-05f519f206d6" providerId="ADAL" clId="{18D7DB16-7D12-464B-AFFC-073CD6D958F7}" dt="2025-11-17T06:39:02.753" v="2949" actId="47"/>
      <pc:docMkLst>
        <pc:docMk/>
      </pc:docMkLst>
      <pc:sldChg chg="modSp">
        <pc:chgData name="Nakaya, Ryou" userId="b8aa65c8-0245-4e48-8589-05f519f206d6" providerId="ADAL" clId="{18D7DB16-7D12-464B-AFFC-073CD6D958F7}" dt="2025-11-17T01:26:07.706" v="5" actId="20577"/>
        <pc:sldMkLst>
          <pc:docMk/>
          <pc:sldMk cId="613687232" sldId="256"/>
        </pc:sldMkLst>
      </pc:sldChg>
      <pc:sldChg chg="add del">
        <pc:chgData name="Nakaya, Ryou" userId="b8aa65c8-0245-4e48-8589-05f519f206d6" providerId="ADAL" clId="{18D7DB16-7D12-464B-AFFC-073CD6D958F7}" dt="2025-11-17T01:41:14.388" v="491" actId="47"/>
        <pc:sldMkLst>
          <pc:docMk/>
          <pc:sldMk cId="4267099085" sldId="264"/>
        </pc:sldMkLst>
      </pc:sldChg>
      <pc:sldChg chg="modSp mod">
        <pc:chgData name="Nakaya, Ryou" userId="b8aa65c8-0245-4e48-8589-05f519f206d6" providerId="ADAL" clId="{18D7DB16-7D12-464B-AFFC-073CD6D958F7}" dt="2025-11-17T06:27:53.155" v="2630" actId="20577"/>
        <pc:sldMkLst>
          <pc:docMk/>
          <pc:sldMk cId="1647937781" sldId="265"/>
        </pc:sldMkLst>
        <pc:spChg chg="mod">
          <ac:chgData name="Nakaya, Ryou" userId="b8aa65c8-0245-4e48-8589-05f519f206d6" providerId="ADAL" clId="{18D7DB16-7D12-464B-AFFC-073CD6D958F7}" dt="2025-11-17T01:33:23.589" v="265" actId="14100"/>
          <ac:spMkLst>
            <pc:docMk/>
            <pc:sldMk cId="1647937781" sldId="265"/>
            <ac:spMk id="2" creationId="{6AB6953A-55E7-977F-875F-5586931465BD}"/>
          </ac:spMkLst>
        </pc:spChg>
      </pc:sldChg>
      <pc:sldChg chg="add del">
        <pc:chgData name="Nakaya, Ryou" userId="b8aa65c8-0245-4e48-8589-05f519f206d6" providerId="ADAL" clId="{18D7DB16-7D12-464B-AFFC-073CD6D958F7}" dt="2025-11-17T06:39:02.753" v="2949" actId="47"/>
        <pc:sldMkLst>
          <pc:docMk/>
          <pc:sldMk cId="1703591433" sldId="266"/>
        </pc:sldMkLst>
      </pc:sldChg>
      <pc:sldChg chg="modSp add del mod">
        <pc:chgData name="Nakaya, Ryou" userId="b8aa65c8-0245-4e48-8589-05f519f206d6" providerId="ADAL" clId="{18D7DB16-7D12-464B-AFFC-073CD6D958F7}" dt="2025-11-17T01:41:11.842" v="489"/>
        <pc:sldMkLst>
          <pc:docMk/>
          <pc:sldMk cId="2094645675" sldId="266"/>
        </pc:sldMkLst>
      </pc:sldChg>
      <pc:sldChg chg="addSp modSp add mod">
        <pc:chgData name="Nakaya, Ryou" userId="b8aa65c8-0245-4e48-8589-05f519f206d6" providerId="ADAL" clId="{18D7DB16-7D12-464B-AFFC-073CD6D958F7}" dt="2025-11-17T01:59:44.114" v="644" actId="1076"/>
        <pc:sldMkLst>
          <pc:docMk/>
          <pc:sldMk cId="2072702773" sldId="267"/>
        </pc:sldMkLst>
      </pc:sldChg>
      <pc:sldChg chg="addSp delSp modSp add mod">
        <pc:chgData name="Nakaya, Ryou" userId="b8aa65c8-0245-4e48-8589-05f519f206d6" providerId="ADAL" clId="{18D7DB16-7D12-464B-AFFC-073CD6D958F7}" dt="2025-11-17T04:09:18.699" v="781" actId="20577"/>
        <pc:sldMkLst>
          <pc:docMk/>
          <pc:sldMk cId="2743418782" sldId="268"/>
        </pc:sldMkLst>
        <pc:spChg chg="mod">
          <ac:chgData name="Nakaya, Ryou" userId="b8aa65c8-0245-4e48-8589-05f519f206d6" providerId="ADAL" clId="{18D7DB16-7D12-464B-AFFC-073CD6D958F7}" dt="2025-11-17T01:59:01.797" v="637" actId="20577"/>
          <ac:spMkLst>
            <pc:docMk/>
            <pc:sldMk cId="2743418782" sldId="268"/>
            <ac:spMk id="2" creationId="{68BA9D73-2DFA-168F-80B8-919D438D5552}"/>
          </ac:spMkLst>
        </pc:spChg>
      </pc:sldChg>
      <pc:sldChg chg="addSp delSp modSp add mod">
        <pc:chgData name="Nakaya, Ryou" userId="b8aa65c8-0245-4e48-8589-05f519f206d6" providerId="ADAL" clId="{18D7DB16-7D12-464B-AFFC-073CD6D958F7}" dt="2025-11-17T04:30:49.948" v="1272" actId="1076"/>
        <pc:sldMkLst>
          <pc:docMk/>
          <pc:sldMk cId="3623894977" sldId="269"/>
        </pc:sldMkLst>
        <pc:spChg chg="mod">
          <ac:chgData name="Nakaya, Ryou" userId="b8aa65c8-0245-4e48-8589-05f519f206d6" providerId="ADAL" clId="{18D7DB16-7D12-464B-AFFC-073CD6D958F7}" dt="2025-11-17T04:09:42.016" v="803" actId="20577"/>
          <ac:spMkLst>
            <pc:docMk/>
            <pc:sldMk cId="3623894977" sldId="269"/>
            <ac:spMk id="2" creationId="{ACFA8CD1-725C-8602-F63C-C4A1FEB61B6A}"/>
          </ac:spMkLst>
        </pc:spChg>
        <pc:picChg chg="add mod">
          <ac:chgData name="Nakaya, Ryou" userId="b8aa65c8-0245-4e48-8589-05f519f206d6" providerId="ADAL" clId="{18D7DB16-7D12-464B-AFFC-073CD6D958F7}" dt="2025-11-17T04:11:54.120" v="814" actId="1076"/>
          <ac:picMkLst>
            <pc:docMk/>
            <pc:sldMk cId="3623894977" sldId="269"/>
            <ac:picMk id="8" creationId="{8EDF352B-8BC8-613D-D3F6-F7B9FB711911}"/>
          </ac:picMkLst>
        </pc:picChg>
        <pc:picChg chg="add mod">
          <ac:chgData name="Nakaya, Ryou" userId="b8aa65c8-0245-4e48-8589-05f519f206d6" providerId="ADAL" clId="{18D7DB16-7D12-464B-AFFC-073CD6D958F7}" dt="2025-11-17T04:16:14.718" v="902" actId="1076"/>
          <ac:picMkLst>
            <pc:docMk/>
            <pc:sldMk cId="3623894977" sldId="269"/>
            <ac:picMk id="15" creationId="{01E12896-FC0D-2067-9F0F-025062D0D178}"/>
          </ac:picMkLst>
        </pc:picChg>
        <pc:picChg chg="add mod">
          <ac:chgData name="Nakaya, Ryou" userId="b8aa65c8-0245-4e48-8589-05f519f206d6" providerId="ADAL" clId="{18D7DB16-7D12-464B-AFFC-073CD6D958F7}" dt="2025-11-17T04:19:49.114" v="919"/>
          <ac:picMkLst>
            <pc:docMk/>
            <pc:sldMk cId="3623894977" sldId="269"/>
            <ac:picMk id="24" creationId="{81019AFC-93EE-09A7-2488-FF1C9CF3A8C4}"/>
          </ac:picMkLst>
        </pc:picChg>
        <pc:picChg chg="add mod">
          <ac:chgData name="Nakaya, Ryou" userId="b8aa65c8-0245-4e48-8589-05f519f206d6" providerId="ADAL" clId="{18D7DB16-7D12-464B-AFFC-073CD6D958F7}" dt="2025-11-17T04:19:50.938" v="920"/>
          <ac:picMkLst>
            <pc:docMk/>
            <pc:sldMk cId="3623894977" sldId="269"/>
            <ac:picMk id="25" creationId="{8A90FECD-88D7-EBA7-6B77-3C241C1794FE}"/>
          </ac:picMkLst>
        </pc:picChg>
        <pc:picChg chg="add mod">
          <ac:chgData name="Nakaya, Ryou" userId="b8aa65c8-0245-4e48-8589-05f519f206d6" providerId="ADAL" clId="{18D7DB16-7D12-464B-AFFC-073CD6D958F7}" dt="2025-11-17T04:30:49.948" v="1272" actId="1076"/>
          <ac:picMkLst>
            <pc:docMk/>
            <pc:sldMk cId="3623894977" sldId="269"/>
            <ac:picMk id="26" creationId="{A00DB7BB-66D2-E9A8-E19F-1B9A673F88D5}"/>
          </ac:picMkLst>
        </pc:picChg>
        <pc:picChg chg="mod">
          <ac:chgData name="Nakaya, Ryou" userId="b8aa65c8-0245-4e48-8589-05f519f206d6" providerId="ADAL" clId="{18D7DB16-7D12-464B-AFFC-073CD6D958F7}" dt="2025-11-17T04:09:44.133" v="804" actId="1076"/>
          <ac:picMkLst>
            <pc:docMk/>
            <pc:sldMk cId="3623894977" sldId="269"/>
            <ac:picMk id="1026" creationId="{914ADA5B-7D13-09ED-890F-78D2A854BFE7}"/>
          </ac:picMkLst>
        </pc:picChg>
        <pc:cxnChg chg="add">
          <ac:chgData name="Nakaya, Ryou" userId="b8aa65c8-0245-4e48-8589-05f519f206d6" providerId="ADAL" clId="{18D7DB16-7D12-464B-AFFC-073CD6D958F7}" dt="2025-11-17T04:12:07.815" v="815" actId="11529"/>
          <ac:cxnSpMkLst>
            <pc:docMk/>
            <pc:sldMk cId="3623894977" sldId="269"/>
            <ac:cxnSpMk id="10" creationId="{54955A8E-E8AB-7EDE-4E2C-702B1AF03DC3}"/>
          </ac:cxnSpMkLst>
        </pc:cxnChg>
        <pc:cxnChg chg="add mod">
          <ac:chgData name="Nakaya, Ryou" userId="b8aa65c8-0245-4e48-8589-05f519f206d6" providerId="ADAL" clId="{18D7DB16-7D12-464B-AFFC-073CD6D958F7}" dt="2025-11-17T04:19:58.824" v="923" actId="1076"/>
          <ac:cxnSpMkLst>
            <pc:docMk/>
            <pc:sldMk cId="3623894977" sldId="269"/>
            <ac:cxnSpMk id="27" creationId="{024D5D52-05D1-A71B-FE9A-4F27FC83DA75}"/>
          </ac:cxnSpMkLst>
        </pc:cxnChg>
        <pc:cxnChg chg="add mod">
          <ac:chgData name="Nakaya, Ryou" userId="b8aa65c8-0245-4e48-8589-05f519f206d6" providerId="ADAL" clId="{18D7DB16-7D12-464B-AFFC-073CD6D958F7}" dt="2025-11-17T04:20:06.293" v="925" actId="1076"/>
          <ac:cxnSpMkLst>
            <pc:docMk/>
            <pc:sldMk cId="3623894977" sldId="269"/>
            <ac:cxnSpMk id="28" creationId="{654A996B-DE64-C0BC-02BE-692AEEEC6F14}"/>
          </ac:cxnSpMkLst>
        </pc:cxnChg>
        <pc:cxnChg chg="add mod">
          <ac:chgData name="Nakaya, Ryou" userId="b8aa65c8-0245-4e48-8589-05f519f206d6" providerId="ADAL" clId="{18D7DB16-7D12-464B-AFFC-073CD6D958F7}" dt="2025-11-17T04:21:35.218" v="939" actId="1076"/>
          <ac:cxnSpMkLst>
            <pc:docMk/>
            <pc:sldMk cId="3623894977" sldId="269"/>
            <ac:cxnSpMk id="30" creationId="{3AB0CCF3-6AC4-421F-9FCE-79A17ED61207}"/>
          </ac:cxnSpMkLst>
        </pc:cxnChg>
        <pc:cxnChg chg="add mod">
          <ac:chgData name="Nakaya, Ryou" userId="b8aa65c8-0245-4e48-8589-05f519f206d6" providerId="ADAL" clId="{18D7DB16-7D12-464B-AFFC-073CD6D958F7}" dt="2025-11-17T04:21:41.352" v="941" actId="1076"/>
          <ac:cxnSpMkLst>
            <pc:docMk/>
            <pc:sldMk cId="3623894977" sldId="269"/>
            <ac:cxnSpMk id="31" creationId="{CAD07677-BB79-527F-6448-83D613A90802}"/>
          </ac:cxnSpMkLst>
        </pc:cxnChg>
      </pc:sldChg>
      <pc:sldChg chg="addSp delSp modSp add mod">
        <pc:chgData name="Nakaya, Ryou" userId="b8aa65c8-0245-4e48-8589-05f519f206d6" providerId="ADAL" clId="{18D7DB16-7D12-464B-AFFC-073CD6D958F7}" dt="2025-11-17T04:28:58.594" v="1268" actId="20577"/>
        <pc:sldMkLst>
          <pc:docMk/>
          <pc:sldMk cId="2884897170" sldId="270"/>
        </pc:sldMkLst>
      </pc:sldChg>
      <pc:sldChg chg="addSp delSp modSp new mod">
        <pc:chgData name="Nakaya, Ryou" userId="b8aa65c8-0245-4e48-8589-05f519f206d6" providerId="ADAL" clId="{18D7DB16-7D12-464B-AFFC-073CD6D958F7}" dt="2025-11-17T04:29:22.082" v="1269" actId="1076"/>
        <pc:sldMkLst>
          <pc:docMk/>
          <pc:sldMk cId="1547452692" sldId="271"/>
        </pc:sldMkLst>
        <pc:picChg chg="add mod modCrop">
          <ac:chgData name="Nakaya, Ryou" userId="b8aa65c8-0245-4e48-8589-05f519f206d6" providerId="ADAL" clId="{18D7DB16-7D12-464B-AFFC-073CD6D958F7}" dt="2025-11-17T04:23:15.724" v="952" actId="1076"/>
          <ac:picMkLst>
            <pc:docMk/>
            <pc:sldMk cId="1547452692" sldId="271"/>
            <ac:picMk id="5" creationId="{26B4A5FA-1940-0E7D-CC6E-EC91057B4F81}"/>
          </ac:picMkLst>
        </pc:picChg>
        <pc:picChg chg="add mod modCrop">
          <ac:chgData name="Nakaya, Ryou" userId="b8aa65c8-0245-4e48-8589-05f519f206d6" providerId="ADAL" clId="{18D7DB16-7D12-464B-AFFC-073CD6D958F7}" dt="2025-11-17T04:29:22.082" v="1269" actId="1076"/>
          <ac:picMkLst>
            <pc:docMk/>
            <pc:sldMk cId="1547452692" sldId="271"/>
            <ac:picMk id="7" creationId="{4A091402-C806-6BF0-2FB1-B2B51D9F6DDA}"/>
          </ac:picMkLst>
        </pc:picChg>
      </pc:sldChg>
      <pc:sldChg chg="addSp delSp modSp add mod">
        <pc:chgData name="Nakaya, Ryou" userId="b8aa65c8-0245-4e48-8589-05f519f206d6" providerId="ADAL" clId="{18D7DB16-7D12-464B-AFFC-073CD6D958F7}" dt="2025-11-17T06:22:50.199" v="2363" actId="207"/>
        <pc:sldMkLst>
          <pc:docMk/>
          <pc:sldMk cId="2729591312" sldId="272"/>
        </pc:sldMkLst>
      </pc:sldChg>
      <pc:sldChg chg="addSp modSp add mod">
        <pc:chgData name="Nakaya, Ryou" userId="b8aa65c8-0245-4e48-8589-05f519f206d6" providerId="ADAL" clId="{18D7DB16-7D12-464B-AFFC-073CD6D958F7}" dt="2025-11-17T06:23:49.945" v="2432" actId="20577"/>
        <pc:sldMkLst>
          <pc:docMk/>
          <pc:sldMk cId="4228658340" sldId="273"/>
        </pc:sldMkLst>
      </pc:sldChg>
      <pc:sldChg chg="addSp delSp modSp add mod">
        <pc:chgData name="Nakaya, Ryou" userId="b8aa65c8-0245-4e48-8589-05f519f206d6" providerId="ADAL" clId="{18D7DB16-7D12-464B-AFFC-073CD6D958F7}" dt="2025-11-17T06:22:54.990" v="2364" actId="207"/>
        <pc:sldMkLst>
          <pc:docMk/>
          <pc:sldMk cId="467994047" sldId="274"/>
        </pc:sldMkLst>
      </pc:sldChg>
      <pc:sldChg chg="modSp add mod">
        <pc:chgData name="Nakaya, Ryou" userId="b8aa65c8-0245-4e48-8589-05f519f206d6" providerId="ADAL" clId="{18D7DB16-7D12-464B-AFFC-073CD6D958F7}" dt="2025-11-17T06:31:42.389" v="2655" actId="20577"/>
        <pc:sldMkLst>
          <pc:docMk/>
          <pc:sldMk cId="1017546885" sldId="275"/>
        </pc:sldMkLst>
      </pc:sldChg>
      <pc:sldChg chg="modSp add mod">
        <pc:chgData name="Nakaya, Ryou" userId="b8aa65c8-0245-4e48-8589-05f519f206d6" providerId="ADAL" clId="{18D7DB16-7D12-464B-AFFC-073CD6D958F7}" dt="2025-11-17T06:36:21.081" v="2948" actId="20577"/>
        <pc:sldMkLst>
          <pc:docMk/>
          <pc:sldMk cId="386483652" sldId="276"/>
        </pc:sldMkLst>
      </pc:sldChg>
      <pc:sldMasterChg chg="addSldLayout delSldLayout">
        <pc:chgData name="Nakaya, Ryou" userId="b8aa65c8-0245-4e48-8589-05f519f206d6" providerId="ADAL" clId="{18D7DB16-7D12-464B-AFFC-073CD6D958F7}" dt="2025-11-17T06:39:02.753" v="2949" actId="47"/>
        <pc:sldMasterMkLst>
          <pc:docMk/>
          <pc:sldMasterMk cId="1012687418" sldId="2147483660"/>
        </pc:sldMasterMkLst>
        <pc:sldLayoutChg chg="add del">
          <pc:chgData name="Nakaya, Ryou" userId="b8aa65c8-0245-4e48-8589-05f519f206d6" providerId="ADAL" clId="{18D7DB16-7D12-464B-AFFC-073CD6D958F7}" dt="2025-11-17T06:39:02.753" v="2949" actId="47"/>
          <pc:sldLayoutMkLst>
            <pc:docMk/>
            <pc:sldMasterMk cId="1012687418" sldId="2147483660"/>
            <pc:sldLayoutMk cId="2706367850" sldId="2147483662"/>
          </pc:sldLayoutMkLst>
        </pc:sldLayout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3T02:31:36.04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,'281'-1,"313"3,-231 14,-265-11,187 26,-222-22,196 5,-99-9,800 10,-645-16,-2-1,339 5,-390 7,128 2,-211-12,-159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3T02:31:39.76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98,'879'0,"-823"-3,99-17,13-2,-21 20,-97 4,1-3,-1-2,93-18,-100 12,1 1,78-3,91 12,-86 1,637-2,-744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3T02:31:41.98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4'0,"441"9,11 4,-227-10,-139 3,109 22,48 4,-101-22,116 6,-183-15,103-11,-82-3,-4 0,118 0,-107 15,139-3,-168-11,5 1,-51 9,12 0,53-9,-64 7,64-1,-72 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3T02:31:44.62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4,'3'-2,"-1"0,1 0,0 0,0 0,0 0,0 1,0 0,0-1,0 1,0 0,1 1,3-2,45-1,-38 2,33 2,0 2,-1 2,89 22,-85-15,0-3,0-2,55 1,385-10,-469 2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3T02:31:46.55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2211'0,"-2191"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1-23T02:31:48.52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8 0,'2776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3T02:31:51.21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5,'7'0,"0"-1,-1 0,1 0,6-3,17-2,95-4,152 8,-148 4,908-1,-880 9,-29 0,222 17,-274-17,-36-6,46 11,12 22,-49-26,60 6,-41-8,-19-2,56 1,143-9,-228 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11-23T02:31:53.30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5,'5'-2,"-1"-1,1 1,0 0,-1 0,1 1,0-1,0 1,0 0,1 0,-1 1,0 0,0 0,7 0,7 0,184-8,338 32,-357 1,-159-23,333 22,4-26,-342 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C95217-A717-4325-BE87-786722260CF2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D29D0C-AE91-49E1-9AA0-4807242B220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041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958872D-BD21-D4BB-87F4-412DF8C7CA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CE529715-098A-AE87-C234-72BE3615F3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D1E44FA7-F4CD-E245-0E71-CA04C8288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C9F05691-90CB-428E-C0D9-0E273E71F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1761B14-5C54-C98B-E8EA-A0E874172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32186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7215981-A799-91F5-46B0-9FD76BA46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CB0DCA50-63F8-247C-4CA2-CC58E021BC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8191085-F107-74FE-4884-73785C5EC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85AB0B4-A189-CF1E-F97B-28749F313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194BFF4-62B0-1279-D11D-58864A08A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00475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17E7E550-5854-2F47-0611-2C22D0F4AC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5FA297CD-81DC-E432-7C92-890F2076F9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FD3E4C8-E500-3444-B5B2-A1EB46EC7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18BAEC9-E084-98DA-424E-204E79DB8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30F7457-B65D-1E7C-109B-AA132DFD1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70780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682896038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79E33C9-598E-737F-C615-42EA43BDB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84B0E558-7542-05D9-464C-571E344DC2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89408CB-87BC-C508-45BB-1689D2C03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68FEAFC0-EE9D-6F05-7B02-9E79471F6C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7BF099D-D18C-A412-59D5-5D9DDD69F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8903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938E287-68C5-0C51-9AEC-DC14C485D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F599A2B-21EA-6E1E-D472-BA790C12CF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867563E-F62A-76B6-6112-9F823AA91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94CDAEA-8D71-06CB-E159-69CB15AB9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B9DE551-500C-8942-7036-141E6837F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7785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3147EEA-15D0-380C-B74E-2026C5486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A4EE601-3C65-AEBB-73AE-D3E550E854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D2628766-C35B-3D89-2653-8F8B89ECA3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18833B2-C5F3-260E-557C-5F4CC6719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47186B50-C118-EF9A-D534-6D4E1C23A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2C3B500A-3605-78B5-C474-EBBE029A2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563155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620A6BD-67A4-A777-9932-A2DE9999D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0A9A7063-0FA9-5690-340F-D2236FE740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8EAE64D2-6877-4AAA-86CE-9E6C74FE57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C4EC2F97-A437-54AB-114C-8415792C04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F5EBB528-537E-C1E5-99AC-149BFF8BD3C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E8C6B55D-B7DB-CEB8-102E-733836897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E44C896-AB1D-04C0-86EB-7B983D384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DB2A2A05-CF8B-9BCF-6713-28CEED28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15477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873F2EE-039A-8A96-1E8B-879011CD9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00765FDA-7F17-5EA4-B156-2095B23C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D274AFF3-17A0-7AE9-50D0-9275AD3B6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5F7E07F-39F0-F4FA-A952-9761E902A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64479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0B30B692-D640-3120-E4E0-60A964459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E28F5436-C9D1-59D0-7516-B0070A304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45D2FB5-A759-3D77-F72A-7E64759F3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816797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D18E9CA-C33E-D4B5-636A-002F9AD2B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9C71328E-7733-A22E-81CB-BD9E0AEB0F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461FD32-2AC9-FD87-A2AB-96AE7D58DD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35FFBF46-1064-6062-9A7F-A3E7037C0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DDE0DE63-B8F1-272E-96C1-014D94E6E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0F40383E-76C5-625F-AD2A-A54FDB5D6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62959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57346C4-6BD8-7557-8D3A-A347710ED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DEC3C299-DFF1-F722-2417-465408735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3E5274F-A6CA-E185-C5CF-E5AE8B057E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B338ED10-1758-2F20-0D9B-DCB05B2FF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741A9D6-9A01-8D88-DFE7-A1DC4B38B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803EF96A-F69C-60D1-AA23-F22626149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5587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869C285D-B383-E2D3-EB76-07F9B3CB9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D40BC6F6-C772-8FF2-4B93-109AC3F1E4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8CE21732-793E-1B35-7E05-DFFC0E580C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53C120E-919F-41C0-9143-950FDA119FE0}" type="datetimeFigureOut">
              <a:rPr kumimoji="1" lang="ja-JP" altLang="en-US" smtClean="0"/>
              <a:t>2025/11/2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4F215CE-1314-D83B-EFC5-9CF9BC488C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52A5488-31E7-C4D7-4621-BA36FC97F5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DC88CB7-BB96-4F5C-A508-001807EC5BE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73595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11150" y="1233487"/>
            <a:ext cx="11569700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 dirty="0"/>
              <a:t>Master text</a:t>
            </a:r>
            <a:endParaRPr kumimoji="1" lang="ja-JP" altLang="en-US"/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161605"/>
            <a:ext cx="9895084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Master title</a:t>
            </a:r>
            <a:endParaRPr kumimoji="1" lang="ja-JP" altLang="en-US"/>
          </a:p>
        </p:txBody>
      </p:sp>
      <p:sp>
        <p:nvSpPr>
          <p:cNvPr id="7" name="スライド番号プレースホルダ 5">
            <a:extLst>
              <a:ext uri="{FF2B5EF4-FFF2-40B4-BE49-F238E27FC236}">
                <a16:creationId xmlns:a16="http://schemas.microsoft.com/office/drawing/2014/main" id="{C7FB2521-F782-4055-BCB4-C770A10F27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1268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 spd="slow">
    <p:push dir="u"/>
  </p:transition>
  <p:hf hdr="0" ftr="0" dt="0"/>
  <p:txStyles>
    <p:titleStyle>
      <a:lvl1pPr algn="l" defTabSz="914150" rtl="0" eaLnBrk="1" latinLnBrk="0" hangingPunct="1">
        <a:lnSpc>
          <a:spcPts val="2800"/>
        </a:lnSpc>
        <a:spcBef>
          <a:spcPct val="0"/>
        </a:spcBef>
        <a:buNone/>
        <a:defRPr kumimoji="1" sz="28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457071" indent="-457071" algn="l" defTabSz="91415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742745" indent="-285677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114269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59976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2056831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2513910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1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42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7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382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4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>
          <p15:clr>
            <a:srgbClr val="F26B43"/>
          </p15:clr>
        </p15:guide>
        <p15:guide id="6" orient="horz" pos="40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13" Type="http://schemas.openxmlformats.org/officeDocument/2006/relationships/image" Target="../media/image17.png"/><Relationship Id="rId18" Type="http://schemas.openxmlformats.org/officeDocument/2006/relationships/customXml" Target="../ink/ink8.xml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customXml" Target="../ink/ink5.xml"/><Relationship Id="rId17" Type="http://schemas.openxmlformats.org/officeDocument/2006/relationships/image" Target="../media/image19.png"/><Relationship Id="rId2" Type="http://schemas.openxmlformats.org/officeDocument/2006/relationships/image" Target="../media/image11.png"/><Relationship Id="rId16" Type="http://schemas.openxmlformats.org/officeDocument/2006/relationships/customXml" Target="../ink/ink7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2.xml"/><Relationship Id="rId11" Type="http://schemas.openxmlformats.org/officeDocument/2006/relationships/image" Target="../media/image16.png"/><Relationship Id="rId5" Type="http://schemas.openxmlformats.org/officeDocument/2006/relationships/image" Target="../media/image13.png"/><Relationship Id="rId15" Type="http://schemas.openxmlformats.org/officeDocument/2006/relationships/image" Target="../media/image18.png"/><Relationship Id="rId10" Type="http://schemas.openxmlformats.org/officeDocument/2006/relationships/customXml" Target="../ink/ink4.xml"/><Relationship Id="rId19" Type="http://schemas.openxmlformats.org/officeDocument/2006/relationships/image" Target="../media/image20.png"/><Relationship Id="rId4" Type="http://schemas.openxmlformats.org/officeDocument/2006/relationships/customXml" Target="../ink/ink1.xml"/><Relationship Id="rId9" Type="http://schemas.openxmlformats.org/officeDocument/2006/relationships/image" Target="../media/image15.png"/><Relationship Id="rId14" Type="http://schemas.openxmlformats.org/officeDocument/2006/relationships/customXml" Target="../ink/ink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AB6953A-55E7-977F-875F-558693146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267" y="1036562"/>
            <a:ext cx="10515600" cy="4364568"/>
          </a:xfrm>
        </p:spPr>
        <p:txBody>
          <a:bodyPr>
            <a:normAutofit/>
          </a:bodyPr>
          <a:lstStyle/>
          <a:p>
            <a:r>
              <a:rPr kumimoji="1" lang="en-US" altLang="ja-JP" dirty="0"/>
              <a:t>How to use </a:t>
            </a:r>
            <a:r>
              <a:rPr kumimoji="1" lang="en-US" altLang="ja-JP" dirty="0" err="1"/>
              <a:t>Valivali</a:t>
            </a:r>
            <a:br>
              <a:rPr kumimoji="1" lang="en-US" altLang="ja-JP" dirty="0"/>
            </a:br>
            <a:br>
              <a:rPr kumimoji="1" lang="en-US" altLang="ja-JP" dirty="0"/>
            </a:br>
            <a:r>
              <a:rPr kumimoji="1" lang="en-US" altLang="ja-JP" sz="2800" dirty="0"/>
              <a:t>- Overall test flow in %</a:t>
            </a:r>
            <a:r>
              <a:rPr kumimoji="1" lang="en-US" altLang="ja-JP" sz="2800" dirty="0" err="1"/>
              <a:t>generatePackage</a:t>
            </a:r>
            <a:r>
              <a:rPr kumimoji="1" lang="en-US" altLang="ja-JP" sz="2800" dirty="0"/>
              <a:t>() </a:t>
            </a:r>
            <a:br>
              <a:rPr kumimoji="1" lang="en-US" altLang="ja-JP" sz="2800" dirty="0"/>
            </a:br>
            <a:r>
              <a:rPr kumimoji="1" lang="en-US" altLang="ja-JP" sz="2800" dirty="0"/>
              <a:t>- How to write test script</a:t>
            </a:r>
            <a:br>
              <a:rPr kumimoji="1" lang="en-US" altLang="ja-JP" sz="2800" dirty="0"/>
            </a:br>
            <a:r>
              <a:rPr kumimoji="1" lang="en-US" altLang="ja-JP" sz="2800" dirty="0"/>
              <a:t>- How to create report</a:t>
            </a:r>
            <a:endParaRPr kumimoji="1" lang="ja-JP" altLang="en-US" sz="2800" dirty="0"/>
          </a:p>
        </p:txBody>
      </p:sp>
      <p:pic>
        <p:nvPicPr>
          <p:cNvPr id="6" name="Picture 2" descr="valivali">
            <a:extLst>
              <a:ext uri="{FF2B5EF4-FFF2-40B4-BE49-F238E27FC236}">
                <a16:creationId xmlns:a16="http://schemas.microsoft.com/office/drawing/2014/main" id="{9046C792-CA2C-74DB-ECF4-1DA58915B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432" y="1712383"/>
            <a:ext cx="4364568" cy="4364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79377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26B4A5FA-1940-0E7D-CC6E-EC91057B4F8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1131" t="9365" r="25496" b="7620"/>
          <a:stretch>
            <a:fillRect/>
          </a:stretch>
        </p:blipFill>
        <p:spPr>
          <a:xfrm>
            <a:off x="119741" y="365125"/>
            <a:ext cx="5856515" cy="5693230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4A091402-C806-6BF0-2FB1-B2B51D9F6DD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635" t="10634" r="25992" b="9366"/>
          <a:stretch>
            <a:fillRect/>
          </a:stretch>
        </p:blipFill>
        <p:spPr>
          <a:xfrm>
            <a:off x="6096000" y="468539"/>
            <a:ext cx="5856515" cy="5486401"/>
          </a:xfrm>
          <a:prstGeom prst="rect">
            <a:avLst/>
          </a:prstGeom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BC5C487E-0C44-FAC0-143B-509348F0606C}"/>
              </a:ext>
            </a:extLst>
          </p:cNvPr>
          <p:cNvSpPr/>
          <p:nvPr/>
        </p:nvSpPr>
        <p:spPr>
          <a:xfrm>
            <a:off x="1947939" y="1168401"/>
            <a:ext cx="2039861" cy="279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101BAF97-A659-EBE4-A025-5F7FD25BA062}"/>
              </a:ext>
            </a:extLst>
          </p:cNvPr>
          <p:cNvSpPr/>
          <p:nvPr/>
        </p:nvSpPr>
        <p:spPr>
          <a:xfrm>
            <a:off x="2185007" y="1837267"/>
            <a:ext cx="1548794" cy="2878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AF360C0-B2B6-1561-F41D-D96C8CD4B0CD}"/>
              </a:ext>
            </a:extLst>
          </p:cNvPr>
          <p:cNvSpPr/>
          <p:nvPr/>
        </p:nvSpPr>
        <p:spPr>
          <a:xfrm>
            <a:off x="584806" y="3289299"/>
            <a:ext cx="1912862" cy="55456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CF1E0DD0-0B70-05F4-F303-CA085FC1D1F3}"/>
              </a:ext>
            </a:extLst>
          </p:cNvPr>
          <p:cNvSpPr/>
          <p:nvPr/>
        </p:nvSpPr>
        <p:spPr>
          <a:xfrm>
            <a:off x="584806" y="4126443"/>
            <a:ext cx="2886527" cy="2169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吹き出し: 四角形 8">
            <a:extLst>
              <a:ext uri="{FF2B5EF4-FFF2-40B4-BE49-F238E27FC236}">
                <a16:creationId xmlns:a16="http://schemas.microsoft.com/office/drawing/2014/main" id="{234491BC-6747-6EA7-5F10-A4850D1BF6B4}"/>
              </a:ext>
            </a:extLst>
          </p:cNvPr>
          <p:cNvSpPr/>
          <p:nvPr/>
        </p:nvSpPr>
        <p:spPr>
          <a:xfrm>
            <a:off x="4228295" y="86564"/>
            <a:ext cx="2477105" cy="1412380"/>
          </a:xfrm>
          <a:prstGeom prst="wedgeRectCallout">
            <a:avLst>
              <a:gd name="adj1" fmla="val -55449"/>
              <a:gd name="adj2" fmla="val 30504"/>
            </a:avLst>
          </a:prstGeom>
          <a:solidFill>
            <a:srgbClr val="FF7C8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Automatically extracted from session info and package source file(</a:t>
            </a:r>
            <a:r>
              <a:rPr lang="en-US" altLang="ja-JP" dirty="0" err="1"/>
              <a:t>description.sas</a:t>
            </a:r>
            <a:r>
              <a:rPr lang="en-US" altLang="ja-JP" dirty="0"/>
              <a:t>)</a:t>
            </a:r>
            <a:endParaRPr lang="ja-JP" alt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10" name="インク 9">
                <a:extLst>
                  <a:ext uri="{FF2B5EF4-FFF2-40B4-BE49-F238E27FC236}">
                    <a16:creationId xmlns:a16="http://schemas.microsoft.com/office/drawing/2014/main" id="{18FAE177-B79D-5613-C4FA-81C07F8510E1}"/>
                  </a:ext>
                </a:extLst>
              </p14:cNvPr>
              <p14:cNvContentPartPr/>
              <p14:nvPr/>
            </p14:nvContentPartPr>
            <p14:xfrm>
              <a:off x="2040520" y="972800"/>
              <a:ext cx="1870200" cy="43200"/>
            </p14:xfrm>
          </p:contentPart>
        </mc:Choice>
        <mc:Fallback>
          <p:pic>
            <p:nvPicPr>
              <p:cNvPr id="10" name="インク 9">
                <a:extLst>
                  <a:ext uri="{FF2B5EF4-FFF2-40B4-BE49-F238E27FC236}">
                    <a16:creationId xmlns:a16="http://schemas.microsoft.com/office/drawing/2014/main" id="{18FAE177-B79D-5613-C4FA-81C07F8510E1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86520" y="865160"/>
                <a:ext cx="1977840" cy="25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1" name="インク 10">
                <a:extLst>
                  <a:ext uri="{FF2B5EF4-FFF2-40B4-BE49-F238E27FC236}">
                    <a16:creationId xmlns:a16="http://schemas.microsoft.com/office/drawing/2014/main" id="{57569691-982D-7D01-68C0-C6703E3AEFCA}"/>
                  </a:ext>
                </a:extLst>
              </p14:cNvPr>
              <p14:cNvContentPartPr/>
              <p14:nvPr/>
            </p14:nvContentPartPr>
            <p14:xfrm>
              <a:off x="694120" y="2233880"/>
              <a:ext cx="1091520" cy="35640"/>
            </p14:xfrm>
          </p:contentPart>
        </mc:Choice>
        <mc:Fallback>
          <p:pic>
            <p:nvPicPr>
              <p:cNvPr id="11" name="インク 10">
                <a:extLst>
                  <a:ext uri="{FF2B5EF4-FFF2-40B4-BE49-F238E27FC236}">
                    <a16:creationId xmlns:a16="http://schemas.microsoft.com/office/drawing/2014/main" id="{57569691-982D-7D01-68C0-C6703E3AEFCA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40120" y="2125880"/>
                <a:ext cx="1199160" cy="25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12" name="インク 11">
                <a:extLst>
                  <a:ext uri="{FF2B5EF4-FFF2-40B4-BE49-F238E27FC236}">
                    <a16:creationId xmlns:a16="http://schemas.microsoft.com/office/drawing/2014/main" id="{40FE16DE-AA0D-8868-8515-F6859ACED8CF}"/>
                  </a:ext>
                </a:extLst>
              </p14:cNvPr>
              <p14:cNvContentPartPr/>
              <p14:nvPr/>
            </p14:nvContentPartPr>
            <p14:xfrm>
              <a:off x="652000" y="3132440"/>
              <a:ext cx="1293120" cy="43200"/>
            </p14:xfrm>
          </p:contentPart>
        </mc:Choice>
        <mc:Fallback>
          <p:pic>
            <p:nvPicPr>
              <p:cNvPr id="12" name="インク 11">
                <a:extLst>
                  <a:ext uri="{FF2B5EF4-FFF2-40B4-BE49-F238E27FC236}">
                    <a16:creationId xmlns:a16="http://schemas.microsoft.com/office/drawing/2014/main" id="{40FE16DE-AA0D-8868-8515-F6859ACED8CF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98000" y="3024800"/>
                <a:ext cx="1400760" cy="25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13" name="インク 12">
                <a:extLst>
                  <a:ext uri="{FF2B5EF4-FFF2-40B4-BE49-F238E27FC236}">
                    <a16:creationId xmlns:a16="http://schemas.microsoft.com/office/drawing/2014/main" id="{8B2455CD-E5E3-F995-6072-ACEBB3BD90EF}"/>
                  </a:ext>
                </a:extLst>
              </p14:cNvPr>
              <p14:cNvContentPartPr/>
              <p14:nvPr/>
            </p14:nvContentPartPr>
            <p14:xfrm>
              <a:off x="652000" y="4038560"/>
              <a:ext cx="414360" cy="26280"/>
            </p14:xfrm>
          </p:contentPart>
        </mc:Choice>
        <mc:Fallback>
          <p:pic>
            <p:nvPicPr>
              <p:cNvPr id="13" name="インク 12">
                <a:extLst>
                  <a:ext uri="{FF2B5EF4-FFF2-40B4-BE49-F238E27FC236}">
                    <a16:creationId xmlns:a16="http://schemas.microsoft.com/office/drawing/2014/main" id="{8B2455CD-E5E3-F995-6072-ACEBB3BD90EF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98000" y="3930560"/>
                <a:ext cx="522000" cy="241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14" name="インク 13">
                <a:extLst>
                  <a:ext uri="{FF2B5EF4-FFF2-40B4-BE49-F238E27FC236}">
                    <a16:creationId xmlns:a16="http://schemas.microsoft.com/office/drawing/2014/main" id="{D35E54A4-882E-FA15-0AED-BD31269C21BB}"/>
                  </a:ext>
                </a:extLst>
              </p14:cNvPr>
              <p14:cNvContentPartPr/>
              <p14:nvPr/>
            </p14:nvContentPartPr>
            <p14:xfrm>
              <a:off x="600880" y="4546520"/>
              <a:ext cx="803520" cy="360"/>
            </p14:xfrm>
          </p:contentPart>
        </mc:Choice>
        <mc:Fallback>
          <p:pic>
            <p:nvPicPr>
              <p:cNvPr id="14" name="インク 13">
                <a:extLst>
                  <a:ext uri="{FF2B5EF4-FFF2-40B4-BE49-F238E27FC236}">
                    <a16:creationId xmlns:a16="http://schemas.microsoft.com/office/drawing/2014/main" id="{D35E54A4-882E-FA15-0AED-BD31269C21BB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47240" y="4438880"/>
                <a:ext cx="91116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16" name="インク 15">
                <a:extLst>
                  <a:ext uri="{FF2B5EF4-FFF2-40B4-BE49-F238E27FC236}">
                    <a16:creationId xmlns:a16="http://schemas.microsoft.com/office/drawing/2014/main" id="{95C6F571-774C-E055-25DB-B78056B5AD60}"/>
                  </a:ext>
                </a:extLst>
              </p14:cNvPr>
              <p14:cNvContentPartPr/>
              <p14:nvPr/>
            </p14:nvContentPartPr>
            <p14:xfrm>
              <a:off x="677200" y="5892560"/>
              <a:ext cx="999720" cy="720"/>
            </p14:xfrm>
          </p:contentPart>
        </mc:Choice>
        <mc:Fallback>
          <p:pic>
            <p:nvPicPr>
              <p:cNvPr id="16" name="インク 15">
                <a:extLst>
                  <a:ext uri="{FF2B5EF4-FFF2-40B4-BE49-F238E27FC236}">
                    <a16:creationId xmlns:a16="http://schemas.microsoft.com/office/drawing/2014/main" id="{95C6F571-774C-E055-25DB-B78056B5AD60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23200" y="5676560"/>
                <a:ext cx="1107360" cy="43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17" name="インク 16">
                <a:extLst>
                  <a:ext uri="{FF2B5EF4-FFF2-40B4-BE49-F238E27FC236}">
                    <a16:creationId xmlns:a16="http://schemas.microsoft.com/office/drawing/2014/main" id="{A6D4A8E0-E7FE-AF42-BA03-81AFBD199A6B}"/>
                  </a:ext>
                </a:extLst>
              </p14:cNvPr>
              <p14:cNvContentPartPr/>
              <p14:nvPr/>
            </p14:nvContentPartPr>
            <p14:xfrm>
              <a:off x="6679840" y="3419720"/>
              <a:ext cx="1159560" cy="60480"/>
            </p14:xfrm>
          </p:contentPart>
        </mc:Choice>
        <mc:Fallback>
          <p:pic>
            <p:nvPicPr>
              <p:cNvPr id="17" name="インク 16">
                <a:extLst>
                  <a:ext uri="{FF2B5EF4-FFF2-40B4-BE49-F238E27FC236}">
                    <a16:creationId xmlns:a16="http://schemas.microsoft.com/office/drawing/2014/main" id="{A6D4A8E0-E7FE-AF42-BA03-81AFBD199A6B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625840" y="3311720"/>
                <a:ext cx="1267200" cy="276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">
            <p14:nvContentPartPr>
              <p14:cNvPr id="18" name="インク 17">
                <a:extLst>
                  <a:ext uri="{FF2B5EF4-FFF2-40B4-BE49-F238E27FC236}">
                    <a16:creationId xmlns:a16="http://schemas.microsoft.com/office/drawing/2014/main" id="{7D933669-4628-3091-BA86-08BF1901B0C0}"/>
                  </a:ext>
                </a:extLst>
              </p14:cNvPr>
              <p14:cNvContentPartPr/>
              <p14:nvPr/>
            </p14:nvContentPartPr>
            <p14:xfrm>
              <a:off x="6705400" y="3910760"/>
              <a:ext cx="643680" cy="27000"/>
            </p14:xfrm>
          </p:contentPart>
        </mc:Choice>
        <mc:Fallback>
          <p:pic>
            <p:nvPicPr>
              <p:cNvPr id="18" name="インク 17">
                <a:extLst>
                  <a:ext uri="{FF2B5EF4-FFF2-40B4-BE49-F238E27FC236}">
                    <a16:creationId xmlns:a16="http://schemas.microsoft.com/office/drawing/2014/main" id="{7D933669-4628-3091-BA86-08BF1901B0C0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651400" y="3802760"/>
                <a:ext cx="751320" cy="242640"/>
              </a:xfrm>
              <a:prstGeom prst="rect">
                <a:avLst/>
              </a:prstGeom>
            </p:spPr>
          </p:pic>
        </mc:Fallback>
      </mc:AlternateContent>
      <p:sp>
        <p:nvSpPr>
          <p:cNvPr id="19" name="吹き出し: 四角形 18">
            <a:extLst>
              <a:ext uri="{FF2B5EF4-FFF2-40B4-BE49-F238E27FC236}">
                <a16:creationId xmlns:a16="http://schemas.microsoft.com/office/drawing/2014/main" id="{CCB9E70D-04C8-0F3E-44D5-079997B5D8D5}"/>
              </a:ext>
            </a:extLst>
          </p:cNvPr>
          <p:cNvSpPr/>
          <p:nvPr/>
        </p:nvSpPr>
        <p:spPr>
          <a:xfrm>
            <a:off x="1995921" y="5930611"/>
            <a:ext cx="1159560" cy="498376"/>
          </a:xfrm>
          <a:prstGeom prst="wedgeRectCallout">
            <a:avLst>
              <a:gd name="adj1" fmla="val -70456"/>
              <a:gd name="adj2" fmla="val -54830"/>
            </a:avLst>
          </a:prstGeom>
          <a:solidFill>
            <a:srgbClr val="FFFF99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schemeClr val="tx1"/>
                </a:solidFill>
              </a:rPr>
              <a:t>Fixed</a:t>
            </a:r>
            <a:endParaRPr lang="ja-JP" altLang="en-US" dirty="0">
              <a:solidFill>
                <a:schemeClr val="tx1"/>
              </a:solidFill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F1A3B417-E0DA-2E05-EB78-E6F295740A08}"/>
              </a:ext>
            </a:extLst>
          </p:cNvPr>
          <p:cNvSpPr/>
          <p:nvPr/>
        </p:nvSpPr>
        <p:spPr>
          <a:xfrm>
            <a:off x="600880" y="2429631"/>
            <a:ext cx="4656920" cy="50811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826D2A45-F639-A2B1-C0D6-EFCB5B78B519}"/>
              </a:ext>
            </a:extLst>
          </p:cNvPr>
          <p:cNvSpPr/>
          <p:nvPr/>
        </p:nvSpPr>
        <p:spPr>
          <a:xfrm>
            <a:off x="617253" y="4668259"/>
            <a:ext cx="4759080" cy="98379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2463DF27-9C2A-BA35-49FF-9650F578931A}"/>
              </a:ext>
            </a:extLst>
          </p:cNvPr>
          <p:cNvSpPr/>
          <p:nvPr/>
        </p:nvSpPr>
        <p:spPr>
          <a:xfrm>
            <a:off x="6637506" y="3556725"/>
            <a:ext cx="432161" cy="16700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B8538CF0-3A82-4C61-9DFE-E00DB9206198}"/>
              </a:ext>
            </a:extLst>
          </p:cNvPr>
          <p:cNvSpPr/>
          <p:nvPr/>
        </p:nvSpPr>
        <p:spPr>
          <a:xfrm>
            <a:off x="6637506" y="4064840"/>
            <a:ext cx="3463227" cy="27856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吹き出し: 四角形 23">
            <a:extLst>
              <a:ext uri="{FF2B5EF4-FFF2-40B4-BE49-F238E27FC236}">
                <a16:creationId xmlns:a16="http://schemas.microsoft.com/office/drawing/2014/main" id="{B2BD2E97-7BA0-2EF4-34DF-15C0EB0EA96E}"/>
              </a:ext>
            </a:extLst>
          </p:cNvPr>
          <p:cNvSpPr/>
          <p:nvPr/>
        </p:nvSpPr>
        <p:spPr>
          <a:xfrm>
            <a:off x="5293120" y="5781515"/>
            <a:ext cx="2688771" cy="744381"/>
          </a:xfrm>
          <a:prstGeom prst="wedgeRectCallout">
            <a:avLst>
              <a:gd name="adj1" fmla="val -40396"/>
              <a:gd name="adj2" fmla="val -81194"/>
            </a:avLst>
          </a:prstGeom>
          <a:solidFill>
            <a:srgbClr val="CCFFFF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schemeClr val="tx1"/>
                </a:solidFill>
              </a:rPr>
              <a:t>Manually describe in macro parameters</a:t>
            </a:r>
            <a:endParaRPr lang="ja-JP" altLang="en-US" dirty="0">
              <a:solidFill>
                <a:schemeClr val="tx1"/>
              </a:solidFill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5E5C635-DE21-62E0-564B-F7AA3B8B3F7E}"/>
              </a:ext>
            </a:extLst>
          </p:cNvPr>
          <p:cNvSpPr/>
          <p:nvPr/>
        </p:nvSpPr>
        <p:spPr>
          <a:xfrm>
            <a:off x="6853586" y="1099069"/>
            <a:ext cx="4424014" cy="2244126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6" name="吹き出し: 四角形 25">
            <a:extLst>
              <a:ext uri="{FF2B5EF4-FFF2-40B4-BE49-F238E27FC236}">
                <a16:creationId xmlns:a16="http://schemas.microsoft.com/office/drawing/2014/main" id="{28ACA0AB-F1C9-2CDC-862F-1A68ED5762E4}"/>
              </a:ext>
            </a:extLst>
          </p:cNvPr>
          <p:cNvSpPr/>
          <p:nvPr/>
        </p:nvSpPr>
        <p:spPr>
          <a:xfrm>
            <a:off x="8369119" y="294354"/>
            <a:ext cx="2964543" cy="382119"/>
          </a:xfrm>
          <a:prstGeom prst="wedgeRectCallout">
            <a:avLst>
              <a:gd name="adj1" fmla="val -35255"/>
              <a:gd name="adj2" fmla="val 120436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solidFill>
                  <a:schemeClr val="tx1"/>
                </a:solidFill>
              </a:rPr>
              <a:t>Bring from result dataset</a:t>
            </a:r>
            <a:endParaRPr lang="ja-JP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452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5B9CC9-BD49-2BF3-CF81-B30B9273AC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939F544D-5A6B-AC8D-000B-829B1C1008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4400" y="541867"/>
            <a:ext cx="4775436" cy="3364931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5C66CFDD-6ADB-EDB8-4F2E-E6A8309F67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4400" y="3987800"/>
            <a:ext cx="4890998" cy="2616202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FF5160E3-6B9E-8EF7-69A7-523DBC5F0F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224" y="319569"/>
            <a:ext cx="9103128" cy="9080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吹き出し: 四角形 16">
            <a:extLst>
              <a:ext uri="{FF2B5EF4-FFF2-40B4-BE49-F238E27FC236}">
                <a16:creationId xmlns:a16="http://schemas.microsoft.com/office/drawing/2014/main" id="{A5F58E6C-35CA-9C57-FD06-02E29655FF4C}"/>
              </a:ext>
            </a:extLst>
          </p:cNvPr>
          <p:cNvSpPr/>
          <p:nvPr/>
        </p:nvSpPr>
        <p:spPr>
          <a:xfrm>
            <a:off x="663069" y="1625601"/>
            <a:ext cx="5983264" cy="2012983"/>
          </a:xfrm>
          <a:prstGeom prst="wedgeRectCallout">
            <a:avLst>
              <a:gd name="adj1" fmla="val -33049"/>
              <a:gd name="adj2" fmla="val -70754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n-US" altLang="ja-JP" dirty="0"/>
              <a:t>%</a:t>
            </a:r>
            <a:r>
              <a:rPr lang="en-US" altLang="ja-JP" dirty="0" err="1"/>
              <a:t>mp_assertgraph</a:t>
            </a:r>
            <a:r>
              <a:rPr lang="en-US" altLang="ja-JP" dirty="0"/>
              <a:t>() creates record with </a:t>
            </a:r>
            <a:r>
              <a:rPr lang="en-US" altLang="ja-JP" dirty="0" err="1"/>
              <a:t>test_result</a:t>
            </a:r>
            <a:r>
              <a:rPr lang="en-US" altLang="ja-JP" dirty="0"/>
              <a:t>=“CHECK” and paths for previous and current graphs</a:t>
            </a:r>
          </a:p>
          <a:p>
            <a:pPr marL="285750" indent="-285750">
              <a:buFontTx/>
              <a:buChar char="-"/>
            </a:pPr>
            <a:endParaRPr lang="en-US" altLang="ja-JP" dirty="0"/>
          </a:p>
          <a:p>
            <a:pPr marL="285750" indent="-285750">
              <a:buFontTx/>
              <a:buChar char="-"/>
            </a:pPr>
            <a:r>
              <a:rPr lang="en-US" altLang="ja-JP" dirty="0"/>
              <a:t>Graph should be created in test contents part before running %</a:t>
            </a:r>
            <a:r>
              <a:rPr lang="en-US" altLang="ja-JP" dirty="0" err="1"/>
              <a:t>mp_assertgraph</a:t>
            </a:r>
            <a:r>
              <a:rPr lang="en-US" altLang="ja-JP" dirty="0"/>
              <a:t>.</a:t>
            </a:r>
            <a:endParaRPr lang="ja-JP" altLang="en-US" dirty="0"/>
          </a:p>
        </p:txBody>
      </p:sp>
      <p:sp>
        <p:nvSpPr>
          <p:cNvPr id="18" name="吹き出し: 四角形 17">
            <a:extLst>
              <a:ext uri="{FF2B5EF4-FFF2-40B4-BE49-F238E27FC236}">
                <a16:creationId xmlns:a16="http://schemas.microsoft.com/office/drawing/2014/main" id="{E4D026E7-F55D-52E2-AF44-50E2A5013699}"/>
              </a:ext>
            </a:extLst>
          </p:cNvPr>
          <p:cNvSpPr/>
          <p:nvPr/>
        </p:nvSpPr>
        <p:spPr>
          <a:xfrm>
            <a:off x="663068" y="3801533"/>
            <a:ext cx="5983265" cy="2887134"/>
          </a:xfrm>
          <a:prstGeom prst="wedgeRectCallout">
            <a:avLst>
              <a:gd name="adj1" fmla="val 53837"/>
              <a:gd name="adj2" fmla="val 8274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dirty="0"/>
              <a:t>- %</a:t>
            </a:r>
            <a:r>
              <a:rPr lang="en-US" altLang="ja-JP" dirty="0" err="1"/>
              <a:t>create_report</a:t>
            </a:r>
            <a:r>
              <a:rPr lang="en-US" altLang="ja-JP" dirty="0"/>
              <a:t>() creates Appendix with graphs placed based on gpath1/gpath2 with </a:t>
            </a:r>
            <a:r>
              <a:rPr lang="en-US" altLang="ja-JP" dirty="0" err="1"/>
              <a:t>test_target</a:t>
            </a:r>
            <a:r>
              <a:rPr lang="en-US" altLang="ja-JP" dirty="0"/>
              <a:t> and </a:t>
            </a:r>
            <a:r>
              <a:rPr lang="en-US" altLang="ja-JP" dirty="0" err="1"/>
              <a:t>test_ID</a:t>
            </a:r>
            <a:r>
              <a:rPr lang="en-US" altLang="ja-JP" dirty="0"/>
              <a:t>.</a:t>
            </a:r>
          </a:p>
          <a:p>
            <a:r>
              <a:rPr lang="en-US" altLang="ja-JP" dirty="0"/>
              <a:t>(e.g. </a:t>
            </a:r>
            <a:r>
              <a:rPr lang="en-US" altLang="ja-JP" dirty="0" err="1"/>
              <a:t>test_target</a:t>
            </a:r>
            <a:r>
              <a:rPr lang="en-US" altLang="ja-JP" dirty="0"/>
              <a:t>=%</a:t>
            </a:r>
            <a:r>
              <a:rPr lang="en-US" altLang="ja-JP" dirty="0" err="1"/>
              <a:t>swimmer_plot</a:t>
            </a:r>
            <a:r>
              <a:rPr lang="en-US" altLang="ja-JP" dirty="0"/>
              <a:t>, </a:t>
            </a:r>
            <a:r>
              <a:rPr lang="en-US" altLang="ja-JP" dirty="0" err="1"/>
              <a:t>test_ID</a:t>
            </a:r>
            <a:r>
              <a:rPr lang="en-US" altLang="ja-JP" dirty="0"/>
              <a:t>=test01)</a:t>
            </a:r>
          </a:p>
          <a:p>
            <a:endParaRPr lang="en-US" altLang="ja-JP" dirty="0"/>
          </a:p>
          <a:p>
            <a:pPr marL="285750" indent="-285750">
              <a:buFontTx/>
              <a:buChar char="-"/>
            </a:pPr>
            <a:r>
              <a:rPr lang="en-US" altLang="ja-JP" dirty="0" err="1"/>
              <a:t>test_target</a:t>
            </a:r>
            <a:r>
              <a:rPr lang="en-US" altLang="ja-JP" dirty="0"/>
              <a:t> and </a:t>
            </a:r>
            <a:r>
              <a:rPr lang="en-US" altLang="ja-JP" dirty="0" err="1"/>
              <a:t>test_ID</a:t>
            </a:r>
            <a:r>
              <a:rPr lang="en-US" altLang="ja-JP" dirty="0"/>
              <a:t> to be created automatically if </a:t>
            </a:r>
            <a:r>
              <a:rPr lang="en-US" altLang="ja-JP" dirty="0" err="1"/>
              <a:t>test_description</a:t>
            </a:r>
            <a:r>
              <a:rPr lang="en-US" altLang="ja-JP" dirty="0"/>
              <a:t> starts from (xxx) [</a:t>
            </a:r>
            <a:r>
              <a:rPr lang="en-US" altLang="ja-JP" dirty="0" err="1"/>
              <a:t>yyy</a:t>
            </a:r>
            <a:r>
              <a:rPr lang="en-US" altLang="ja-JP" dirty="0"/>
              <a:t>]. (xxx=</a:t>
            </a:r>
            <a:r>
              <a:rPr lang="en-US" altLang="ja-JP" dirty="0" err="1"/>
              <a:t>test_target</a:t>
            </a:r>
            <a:r>
              <a:rPr lang="en-US" altLang="ja-JP" dirty="0"/>
              <a:t>, </a:t>
            </a:r>
            <a:r>
              <a:rPr lang="en-US" altLang="ja-JP" dirty="0" err="1"/>
              <a:t>yyy</a:t>
            </a:r>
            <a:r>
              <a:rPr lang="en-US" altLang="ja-JP" dirty="0"/>
              <a:t>=</a:t>
            </a:r>
            <a:r>
              <a:rPr lang="en-US" altLang="ja-JP" dirty="0" err="1"/>
              <a:t>test_ID</a:t>
            </a:r>
            <a:r>
              <a:rPr lang="en-US" altLang="ja-JP" dirty="0"/>
              <a:t>)</a:t>
            </a:r>
          </a:p>
          <a:p>
            <a:pPr marL="285750" indent="-285750">
              <a:buFontTx/>
              <a:buChar char="-"/>
            </a:pPr>
            <a:endParaRPr lang="en-US" altLang="ja-JP" dirty="0"/>
          </a:p>
          <a:p>
            <a:pPr marL="285750" indent="-285750">
              <a:buFontTx/>
              <a:buChar char="-"/>
            </a:pPr>
            <a:r>
              <a:rPr lang="en-US" altLang="ja-JP" dirty="0"/>
              <a:t>Users should visually review graph outputs</a:t>
            </a:r>
            <a:endParaRPr lang="ja-JP" altLang="en-US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65C3FCD7-0A52-8E35-CA2A-8192612556C5}"/>
              </a:ext>
            </a:extLst>
          </p:cNvPr>
          <p:cNvSpPr/>
          <p:nvPr/>
        </p:nvSpPr>
        <p:spPr>
          <a:xfrm>
            <a:off x="373224" y="939801"/>
            <a:ext cx="9103128" cy="2116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C6A7059B-B5B1-01C3-840C-DF3B74C567AB}"/>
              </a:ext>
            </a:extLst>
          </p:cNvPr>
          <p:cNvSpPr/>
          <p:nvPr/>
        </p:nvSpPr>
        <p:spPr>
          <a:xfrm>
            <a:off x="7366000" y="2260601"/>
            <a:ext cx="4563836" cy="304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19EBDD62-D230-4DA1-9495-063B2CF2DFCE}"/>
              </a:ext>
            </a:extLst>
          </p:cNvPr>
          <p:cNvSpPr/>
          <p:nvPr/>
        </p:nvSpPr>
        <p:spPr>
          <a:xfrm>
            <a:off x="7086600" y="3598335"/>
            <a:ext cx="4890998" cy="3090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タイトル 1">
            <a:extLst>
              <a:ext uri="{FF2B5EF4-FFF2-40B4-BE49-F238E27FC236}">
                <a16:creationId xmlns:a16="http://schemas.microsoft.com/office/drawing/2014/main" id="{6DCE28C1-5670-7AA4-AACF-1413F164A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5412" y="226435"/>
            <a:ext cx="1894424" cy="957942"/>
          </a:xfrm>
        </p:spPr>
        <p:txBody>
          <a:bodyPr>
            <a:normAutofit/>
          </a:bodyPr>
          <a:lstStyle/>
          <a:p>
            <a:r>
              <a:rPr lang="en-US" altLang="ja-JP" dirty="0"/>
              <a:t>Graph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48971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752AEE-2691-2F33-D895-A33A4A5F9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8BA9D73-2DFA-168F-80B8-919D438D5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3267"/>
            <a:ext cx="10515600" cy="957942"/>
          </a:xfrm>
        </p:spPr>
        <p:txBody>
          <a:bodyPr>
            <a:normAutofit fontScale="90000"/>
          </a:bodyPr>
          <a:lstStyle/>
          <a:p>
            <a:r>
              <a:rPr kumimoji="1" lang="en-US" altLang="ja-JP" dirty="0"/>
              <a:t>Test flow in SPF</a:t>
            </a:r>
            <a:br>
              <a:rPr kumimoji="1" lang="en-US" altLang="ja-JP" dirty="0"/>
            </a:br>
            <a:r>
              <a:rPr kumimoji="1" lang="en-US" altLang="ja-JP" dirty="0"/>
              <a:t>(</a:t>
            </a:r>
            <a:r>
              <a:rPr kumimoji="1" lang="en-US" altLang="ja-JP" u="sng" dirty="0">
                <a:solidFill>
                  <a:srgbClr val="FF0000"/>
                </a:solidFill>
              </a:rPr>
              <a:t>done in %</a:t>
            </a:r>
            <a:r>
              <a:rPr kumimoji="1" lang="en-US" altLang="ja-JP" u="sng" dirty="0" err="1">
                <a:solidFill>
                  <a:srgbClr val="FF0000"/>
                </a:solidFill>
              </a:rPr>
              <a:t>generatePackage</a:t>
            </a:r>
            <a:r>
              <a:rPr kumimoji="1" lang="en-US" altLang="ja-JP" dirty="0"/>
              <a:t>)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A8951FD9-EBED-1FB6-8CCC-A7406C9DE2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372" y="1498885"/>
            <a:ext cx="8378650" cy="3623447"/>
          </a:xfrm>
          <a:prstGeom prst="rect">
            <a:avLst/>
          </a:prstGeom>
        </p:spPr>
      </p:pic>
      <p:sp>
        <p:nvSpPr>
          <p:cNvPr id="12" name="吹き出し: 四角形 11">
            <a:extLst>
              <a:ext uri="{FF2B5EF4-FFF2-40B4-BE49-F238E27FC236}">
                <a16:creationId xmlns:a16="http://schemas.microsoft.com/office/drawing/2014/main" id="{AA3FF2F9-8728-9A30-A387-8A516CF197ED}"/>
              </a:ext>
            </a:extLst>
          </p:cNvPr>
          <p:cNvSpPr/>
          <p:nvPr/>
        </p:nvSpPr>
        <p:spPr>
          <a:xfrm>
            <a:off x="7535330" y="5049955"/>
            <a:ext cx="4284137" cy="1697236"/>
          </a:xfrm>
          <a:prstGeom prst="wedgeRectCallout">
            <a:avLst>
              <a:gd name="adj1" fmla="val -35474"/>
              <a:gd name="adj2" fmla="val -62572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/>
              <a:t>Test scripts(.</a:t>
            </a:r>
            <a:r>
              <a:rPr kumimoji="1" lang="en-US" altLang="ja-JP" dirty="0" err="1"/>
              <a:t>sas</a:t>
            </a:r>
            <a:r>
              <a:rPr kumimoji="1" lang="en-US" altLang="ja-JP" dirty="0"/>
              <a:t>) placed in test folder(e.g. 99_test) will be executed when you generate package using %</a:t>
            </a:r>
            <a:r>
              <a:rPr kumimoji="1" lang="en-US" altLang="ja-JP" dirty="0" err="1"/>
              <a:t>generatePackage</a:t>
            </a:r>
            <a:r>
              <a:rPr kumimoji="1" lang="en-US" altLang="ja-JP" dirty="0"/>
              <a:t>()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43418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727B66-F0D5-3EB3-DE7C-7B5ABB837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E4F551F-E441-57E4-5ED8-DEC694009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57942"/>
          </a:xfrm>
        </p:spPr>
        <p:txBody>
          <a:bodyPr/>
          <a:lstStyle/>
          <a:p>
            <a:r>
              <a:rPr kumimoji="1" lang="en-US" altLang="ja-JP" dirty="0"/>
              <a:t>Test flow in SPF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6DE86A12-B37B-4192-77CA-372912310E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360" y="1145067"/>
            <a:ext cx="7399098" cy="3199828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22724BCF-ADED-D98C-6223-60E51CC39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44" y="4730605"/>
            <a:ext cx="6257789" cy="1964655"/>
          </a:xfrm>
          <a:prstGeom prst="rect">
            <a:avLst/>
          </a:prstGeom>
        </p:spPr>
      </p:pic>
      <p:sp>
        <p:nvSpPr>
          <p:cNvPr id="3" name="吹き出し: 四角形 2">
            <a:extLst>
              <a:ext uri="{FF2B5EF4-FFF2-40B4-BE49-F238E27FC236}">
                <a16:creationId xmlns:a16="http://schemas.microsoft.com/office/drawing/2014/main" id="{C75EC302-2819-30B0-7696-974CEBD3104C}"/>
              </a:ext>
            </a:extLst>
          </p:cNvPr>
          <p:cNvSpPr/>
          <p:nvPr/>
        </p:nvSpPr>
        <p:spPr>
          <a:xfrm>
            <a:off x="6581733" y="4532019"/>
            <a:ext cx="3996270" cy="351778"/>
          </a:xfrm>
          <a:prstGeom prst="wedgeRectCallout">
            <a:avLst>
              <a:gd name="adj1" fmla="val -51788"/>
              <a:gd name="adj2" fmla="val 89058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/>
              <a:t>Location of source package folder</a:t>
            </a:r>
            <a:endParaRPr kumimoji="1" lang="ja-JP" altLang="en-US" dirty="0"/>
          </a:p>
        </p:txBody>
      </p:sp>
      <p:cxnSp>
        <p:nvCxnSpPr>
          <p:cNvPr id="5" name="直線矢印コネクタ 4">
            <a:extLst>
              <a:ext uri="{FF2B5EF4-FFF2-40B4-BE49-F238E27FC236}">
                <a16:creationId xmlns:a16="http://schemas.microsoft.com/office/drawing/2014/main" id="{E02A42B5-D6E8-177A-0DA0-73AEFD8E0AF9}"/>
              </a:ext>
            </a:extLst>
          </p:cNvPr>
          <p:cNvCxnSpPr>
            <a:cxnSpLocks/>
          </p:cNvCxnSpPr>
          <p:nvPr/>
        </p:nvCxnSpPr>
        <p:spPr>
          <a:xfrm flipH="1" flipV="1">
            <a:off x="1608667" y="1371600"/>
            <a:ext cx="4809066" cy="32596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CFA07727-B1DE-1A11-C1D7-D728F1322B69}"/>
              </a:ext>
            </a:extLst>
          </p:cNvPr>
          <p:cNvCxnSpPr>
            <a:cxnSpLocks/>
          </p:cNvCxnSpPr>
          <p:nvPr/>
        </p:nvCxnSpPr>
        <p:spPr>
          <a:xfrm>
            <a:off x="651933" y="5266267"/>
            <a:ext cx="5647267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8693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6B37AD-C876-2028-BABD-55E9447CBB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7C9A640-0FC0-5408-FD73-3AA5BDEF3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57942"/>
          </a:xfrm>
        </p:spPr>
        <p:txBody>
          <a:bodyPr/>
          <a:lstStyle/>
          <a:p>
            <a:r>
              <a:rPr kumimoji="1" lang="en-US" altLang="ja-JP" dirty="0"/>
              <a:t>Test flow in SPF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6055C641-26F5-3D68-9E86-1CAB87C254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360" y="1145067"/>
            <a:ext cx="7399098" cy="3199828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A5E5402D-8C11-9F99-CEE1-FA9EAFADB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44" y="4730605"/>
            <a:ext cx="6257789" cy="1964655"/>
          </a:xfrm>
          <a:prstGeom prst="rect">
            <a:avLst/>
          </a:prstGeom>
        </p:spPr>
      </p:pic>
      <p:sp>
        <p:nvSpPr>
          <p:cNvPr id="3" name="吹き出し: 四角形 2">
            <a:extLst>
              <a:ext uri="{FF2B5EF4-FFF2-40B4-BE49-F238E27FC236}">
                <a16:creationId xmlns:a16="http://schemas.microsoft.com/office/drawing/2014/main" id="{05B25FD0-0FC1-B60A-B0B5-E88F1F912934}"/>
              </a:ext>
            </a:extLst>
          </p:cNvPr>
          <p:cNvSpPr/>
          <p:nvPr/>
        </p:nvSpPr>
        <p:spPr>
          <a:xfrm>
            <a:off x="2450000" y="4872713"/>
            <a:ext cx="5898134" cy="351778"/>
          </a:xfrm>
          <a:prstGeom prst="wedgeRectCallout">
            <a:avLst>
              <a:gd name="adj1" fmla="val -51788"/>
              <a:gd name="adj2" fmla="val 89058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Y to execute test scripts, otherwise tests will not run.</a:t>
            </a:r>
            <a:endParaRPr kumimoji="1" lang="ja-JP" altLang="en-US" dirty="0"/>
          </a:p>
        </p:txBody>
      </p:sp>
      <p:cxnSp>
        <p:nvCxnSpPr>
          <p:cNvPr id="4" name="直線コネクタ 3">
            <a:extLst>
              <a:ext uri="{FF2B5EF4-FFF2-40B4-BE49-F238E27FC236}">
                <a16:creationId xmlns:a16="http://schemas.microsoft.com/office/drawing/2014/main" id="{C4569097-7C48-45C9-C3D8-09326D870182}"/>
              </a:ext>
            </a:extLst>
          </p:cNvPr>
          <p:cNvCxnSpPr>
            <a:cxnSpLocks/>
          </p:cNvCxnSpPr>
          <p:nvPr/>
        </p:nvCxnSpPr>
        <p:spPr>
          <a:xfrm>
            <a:off x="660400" y="5494867"/>
            <a:ext cx="147320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3999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F3581-4E95-946D-49AE-DE705C4A81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11B40D7-A4ED-F44A-2144-6557DE491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57942"/>
          </a:xfrm>
        </p:spPr>
        <p:txBody>
          <a:bodyPr/>
          <a:lstStyle/>
          <a:p>
            <a:r>
              <a:rPr kumimoji="1" lang="en-US" altLang="ja-JP" dirty="0"/>
              <a:t>Test flow in SPF</a:t>
            </a:r>
            <a:endParaRPr kumimoji="1" lang="ja-JP" altLang="en-US" dirty="0"/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4B08AF99-2E76-6D2D-CDFC-912D9FBB44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44" y="4730605"/>
            <a:ext cx="6257789" cy="1964655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B8D3DC4E-D4FA-062C-8F7A-4B50E8AA5A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927" y="873277"/>
            <a:ext cx="7479340" cy="3919842"/>
          </a:xfrm>
          <a:prstGeom prst="rect">
            <a:avLst/>
          </a:prstGeom>
        </p:spPr>
      </p:pic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ECBC93BD-0259-BF8E-5A71-8C7E2B38FDB0}"/>
              </a:ext>
            </a:extLst>
          </p:cNvPr>
          <p:cNvCxnSpPr>
            <a:cxnSpLocks/>
          </p:cNvCxnSpPr>
          <p:nvPr/>
        </p:nvCxnSpPr>
        <p:spPr>
          <a:xfrm>
            <a:off x="634998" y="5731932"/>
            <a:ext cx="5647267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吹き出し: 四角形 2">
            <a:extLst>
              <a:ext uri="{FF2B5EF4-FFF2-40B4-BE49-F238E27FC236}">
                <a16:creationId xmlns:a16="http://schemas.microsoft.com/office/drawing/2014/main" id="{88DFC93B-19EB-B8A0-5356-0790710C1059}"/>
              </a:ext>
            </a:extLst>
          </p:cNvPr>
          <p:cNvSpPr/>
          <p:nvPr/>
        </p:nvSpPr>
        <p:spPr>
          <a:xfrm>
            <a:off x="6568073" y="4051799"/>
            <a:ext cx="5080000" cy="888995"/>
          </a:xfrm>
          <a:prstGeom prst="wedgeRectCallout">
            <a:avLst>
              <a:gd name="adj1" fmla="val -53454"/>
              <a:gd name="adj2" fmla="val 111915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Location of test results created. If </a:t>
            </a:r>
            <a:r>
              <a:rPr lang="en-US" altLang="ja-JP" dirty="0" err="1"/>
              <a:t>testResults</a:t>
            </a:r>
            <a:r>
              <a:rPr lang="en-US" altLang="ja-JP" dirty="0"/>
              <a:t> parameter is not set, results will be in temporary work directory.</a:t>
            </a:r>
            <a:endParaRPr kumimoji="1" lang="ja-JP" altLang="en-US" dirty="0"/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841C6189-4508-1642-5072-5F1D0BB87D54}"/>
              </a:ext>
            </a:extLst>
          </p:cNvPr>
          <p:cNvCxnSpPr>
            <a:cxnSpLocks/>
          </p:cNvCxnSpPr>
          <p:nvPr/>
        </p:nvCxnSpPr>
        <p:spPr>
          <a:xfrm flipH="1" flipV="1">
            <a:off x="3327400" y="2768600"/>
            <a:ext cx="3090333" cy="18626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直線コネクタ 11">
            <a:extLst>
              <a:ext uri="{FF2B5EF4-FFF2-40B4-BE49-F238E27FC236}">
                <a16:creationId xmlns:a16="http://schemas.microsoft.com/office/drawing/2014/main" id="{A0ACA2F5-7DE5-3754-31ED-D5239EFEB971}"/>
              </a:ext>
            </a:extLst>
          </p:cNvPr>
          <p:cNvCxnSpPr>
            <a:cxnSpLocks/>
          </p:cNvCxnSpPr>
          <p:nvPr/>
        </p:nvCxnSpPr>
        <p:spPr>
          <a:xfrm>
            <a:off x="634998" y="5977465"/>
            <a:ext cx="1583269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71463A1C-BEC0-01C5-0137-F2236CDD708A}"/>
              </a:ext>
            </a:extLst>
          </p:cNvPr>
          <p:cNvCxnSpPr>
            <a:cxnSpLocks/>
          </p:cNvCxnSpPr>
          <p:nvPr/>
        </p:nvCxnSpPr>
        <p:spPr>
          <a:xfrm>
            <a:off x="634998" y="6443132"/>
            <a:ext cx="2040469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吹き出し: 四角形 15">
            <a:extLst>
              <a:ext uri="{FF2B5EF4-FFF2-40B4-BE49-F238E27FC236}">
                <a16:creationId xmlns:a16="http://schemas.microsoft.com/office/drawing/2014/main" id="{E8BC4041-42B1-E644-5BAE-6793CA122BB2}"/>
              </a:ext>
            </a:extLst>
          </p:cNvPr>
          <p:cNvSpPr/>
          <p:nvPr/>
        </p:nvSpPr>
        <p:spPr>
          <a:xfrm>
            <a:off x="6096000" y="5632475"/>
            <a:ext cx="6002867" cy="1162123"/>
          </a:xfrm>
          <a:prstGeom prst="wedgeRectCallout">
            <a:avLst>
              <a:gd name="adj1" fmla="val -104814"/>
              <a:gd name="adj2" fmla="val 10971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By combination of </a:t>
            </a:r>
            <a:r>
              <a:rPr lang="en-US" altLang="ja-JP" dirty="0" err="1"/>
              <a:t>delTestWork</a:t>
            </a:r>
            <a:r>
              <a:rPr lang="en-US" altLang="ja-JP" dirty="0"/>
              <a:t>=0(do not delete work in each test session) and  </a:t>
            </a:r>
            <a:r>
              <a:rPr lang="en-US" altLang="ja-JP" dirty="0" err="1"/>
              <a:t>workInTestResults</a:t>
            </a:r>
            <a:r>
              <a:rPr lang="en-US" altLang="ja-JP" dirty="0"/>
              <a:t>=1(work folder created in folder specified in </a:t>
            </a:r>
            <a:r>
              <a:rPr lang="en-US" altLang="ja-JP" dirty="0" err="1"/>
              <a:t>testResults</a:t>
            </a:r>
            <a:r>
              <a:rPr lang="en-US" altLang="ja-JP" dirty="0"/>
              <a:t>=)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209416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606D9E-C09F-212F-61A8-EB1B28DEF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CFA8CD1-725C-8602-F63C-C4A1FEB61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576" y="133754"/>
            <a:ext cx="4150790" cy="957942"/>
          </a:xfrm>
        </p:spPr>
        <p:txBody>
          <a:bodyPr>
            <a:normAutofit fontScale="90000"/>
          </a:bodyPr>
          <a:lstStyle/>
          <a:p>
            <a:r>
              <a:rPr lang="en-US" altLang="ja-JP" dirty="0"/>
              <a:t>How to write test scripts</a:t>
            </a:r>
            <a:endParaRPr kumimoji="1" lang="ja-JP" altLang="en-US" dirty="0"/>
          </a:p>
        </p:txBody>
      </p:sp>
      <p:pic>
        <p:nvPicPr>
          <p:cNvPr id="1026" name="Picture 2" descr="valivali">
            <a:extLst>
              <a:ext uri="{FF2B5EF4-FFF2-40B4-BE49-F238E27FC236}">
                <a16:creationId xmlns:a16="http://schemas.microsoft.com/office/drawing/2014/main" id="{914ADA5B-7D13-09ED-890F-78D2A854BF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766" y="-7787"/>
            <a:ext cx="1023787" cy="102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8EDF352B-8BC8-613D-D3F6-F7B9FB711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667" y="1366405"/>
            <a:ext cx="4999153" cy="2651990"/>
          </a:xfrm>
          <a:prstGeom prst="rect">
            <a:avLst/>
          </a:prstGeom>
        </p:spPr>
      </p:pic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54955A8E-E8AB-7EDE-4E2C-702B1AF03DC3}"/>
              </a:ext>
            </a:extLst>
          </p:cNvPr>
          <p:cNvCxnSpPr/>
          <p:nvPr/>
        </p:nvCxnSpPr>
        <p:spPr>
          <a:xfrm flipV="1">
            <a:off x="2082800" y="1261533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4">
            <a:extLst>
              <a:ext uri="{FF2B5EF4-FFF2-40B4-BE49-F238E27FC236}">
                <a16:creationId xmlns:a16="http://schemas.microsoft.com/office/drawing/2014/main" id="{01E12896-FC0D-2067-9F0F-025062D0D1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401" y="451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81019AFC-93EE-09A7-2488-FF1C9CF3A8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6801" y="1975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8A90FECD-88D7-EBA7-6B77-3C241C1794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9201" y="3499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図 25">
            <a:extLst>
              <a:ext uri="{FF2B5EF4-FFF2-40B4-BE49-F238E27FC236}">
                <a16:creationId xmlns:a16="http://schemas.microsoft.com/office/drawing/2014/main" id="{A00DB7BB-66D2-E9A8-E19F-1B9A673F88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6179" y="425508"/>
            <a:ext cx="5765821" cy="2791098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7" name="直線矢印コネクタ 26">
            <a:extLst>
              <a:ext uri="{FF2B5EF4-FFF2-40B4-BE49-F238E27FC236}">
                <a16:creationId xmlns:a16="http://schemas.microsoft.com/office/drawing/2014/main" id="{024D5D52-05D1-A71B-FE9A-4F27FC83DA75}"/>
              </a:ext>
            </a:extLst>
          </p:cNvPr>
          <p:cNvCxnSpPr/>
          <p:nvPr/>
        </p:nvCxnSpPr>
        <p:spPr>
          <a:xfrm flipV="1">
            <a:off x="2040467" y="1507066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直線矢印コネクタ 27">
            <a:extLst>
              <a:ext uri="{FF2B5EF4-FFF2-40B4-BE49-F238E27FC236}">
                <a16:creationId xmlns:a16="http://schemas.microsoft.com/office/drawing/2014/main" id="{654A996B-DE64-C0BC-02BE-692AEEEC6F14}"/>
              </a:ext>
            </a:extLst>
          </p:cNvPr>
          <p:cNvCxnSpPr/>
          <p:nvPr/>
        </p:nvCxnSpPr>
        <p:spPr>
          <a:xfrm flipV="1">
            <a:off x="2040467" y="1786608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直線矢印コネクタ 29">
            <a:extLst>
              <a:ext uri="{FF2B5EF4-FFF2-40B4-BE49-F238E27FC236}">
                <a16:creationId xmlns:a16="http://schemas.microsoft.com/office/drawing/2014/main" id="{3AB0CCF3-6AC4-421F-9FCE-79A17ED61207}"/>
              </a:ext>
            </a:extLst>
          </p:cNvPr>
          <p:cNvCxnSpPr/>
          <p:nvPr/>
        </p:nvCxnSpPr>
        <p:spPr>
          <a:xfrm flipV="1">
            <a:off x="2036234" y="2040366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線矢印コネクタ 30">
            <a:extLst>
              <a:ext uri="{FF2B5EF4-FFF2-40B4-BE49-F238E27FC236}">
                <a16:creationId xmlns:a16="http://schemas.microsoft.com/office/drawing/2014/main" id="{CAD07677-BB79-527F-6448-83D613A90802}"/>
              </a:ext>
            </a:extLst>
          </p:cNvPr>
          <p:cNvCxnSpPr/>
          <p:nvPr/>
        </p:nvCxnSpPr>
        <p:spPr>
          <a:xfrm flipV="1">
            <a:off x="2032001" y="2286101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図 3">
            <a:extLst>
              <a:ext uri="{FF2B5EF4-FFF2-40B4-BE49-F238E27FC236}">
                <a16:creationId xmlns:a16="http://schemas.microsoft.com/office/drawing/2014/main" id="{52254AFD-3CFB-AD35-66AE-4670B2449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179" y="3877674"/>
            <a:ext cx="5765821" cy="27910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1DF5E14B-8627-35EA-368D-F75AC760EF8F}"/>
              </a:ext>
            </a:extLst>
          </p:cNvPr>
          <p:cNvSpPr txBox="1">
            <a:spLocks/>
          </p:cNvSpPr>
          <p:nvPr/>
        </p:nvSpPr>
        <p:spPr>
          <a:xfrm>
            <a:off x="7097176" y="3363448"/>
            <a:ext cx="4999153" cy="1557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Load {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}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Set up </a:t>
            </a:r>
            <a:r>
              <a:rPr lang="en-US" altLang="ja-JP" sz="1800" dirty="0" err="1">
                <a:highlight>
                  <a:srgbClr val="FFFF00"/>
                </a:highlight>
              </a:rPr>
              <a:t>libname</a:t>
            </a:r>
            <a:r>
              <a:rPr lang="en-US" altLang="ja-JP" sz="1800" dirty="0">
                <a:highlight>
                  <a:srgbClr val="FFFF00"/>
                </a:highlight>
              </a:rPr>
              <a:t> (can use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)</a:t>
            </a:r>
          </a:p>
          <a:p>
            <a:pPr marL="342900" indent="-342900">
              <a:buAutoNum type="arabicPeriod"/>
            </a:pPr>
            <a:r>
              <a:rPr lang="en-US" altLang="ja-JP" sz="1800" dirty="0"/>
              <a:t>Create your test contents</a:t>
            </a:r>
            <a:br>
              <a:rPr lang="en-US" altLang="ja-JP" sz="1800" dirty="0"/>
            </a:br>
            <a:r>
              <a:rPr lang="en-US" altLang="ja-JP" sz="1800" dirty="0"/>
              <a:t>(e.g. expected data and test data)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Use assert macros in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endParaRPr lang="ja-JP" altLang="en-US" sz="1800" dirty="0">
              <a:highlight>
                <a:srgbClr val="FFFF00"/>
              </a:highlight>
            </a:endParaRPr>
          </a:p>
        </p:txBody>
      </p:sp>
      <p:sp>
        <p:nvSpPr>
          <p:cNvPr id="6" name="吹き出し: 四角形 5">
            <a:extLst>
              <a:ext uri="{FF2B5EF4-FFF2-40B4-BE49-F238E27FC236}">
                <a16:creationId xmlns:a16="http://schemas.microsoft.com/office/drawing/2014/main" id="{F218EAC5-B83E-89B1-36F0-DF85C39316BB}"/>
              </a:ext>
            </a:extLst>
          </p:cNvPr>
          <p:cNvSpPr/>
          <p:nvPr/>
        </p:nvSpPr>
        <p:spPr>
          <a:xfrm>
            <a:off x="6146801" y="5135747"/>
            <a:ext cx="5215466" cy="1677118"/>
          </a:xfrm>
          <a:prstGeom prst="wedgeRectCallout">
            <a:avLst>
              <a:gd name="adj1" fmla="val -59333"/>
              <a:gd name="adj2" fmla="val -91576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Set up a consistent lib reference across all test scripts is key to integrate results into a dataset.</a:t>
            </a:r>
          </a:p>
          <a:p>
            <a:pPr algn="ctr"/>
            <a:endParaRPr kumimoji="1" lang="en-US" altLang="ja-JP" dirty="0"/>
          </a:p>
          <a:p>
            <a:pPr algn="ctr"/>
            <a:r>
              <a:rPr lang="en-US" altLang="ja-JP" dirty="0"/>
              <a:t>This is because </a:t>
            </a:r>
            <a:r>
              <a:rPr lang="en-US" altLang="ja-JP" u="sng" dirty="0"/>
              <a:t>test scripts will be executed in separate sub-sessions</a:t>
            </a:r>
            <a:r>
              <a:rPr lang="en-US" altLang="ja-JP" dirty="0"/>
              <a:t> in %</a:t>
            </a:r>
            <a:r>
              <a:rPr lang="en-US" altLang="ja-JP" dirty="0" err="1"/>
              <a:t>generatePackage</a:t>
            </a:r>
            <a:r>
              <a:rPr lang="en-US" altLang="ja-JP" dirty="0"/>
              <a:t>().</a:t>
            </a:r>
            <a:endParaRPr kumimoji="1" lang="ja-JP" altLang="en-US" dirty="0"/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A8D72DF-530D-3093-8492-F82AE63ADE29}"/>
              </a:ext>
            </a:extLst>
          </p:cNvPr>
          <p:cNvCxnSpPr>
            <a:cxnSpLocks/>
          </p:cNvCxnSpPr>
          <p:nvPr/>
        </p:nvCxnSpPr>
        <p:spPr>
          <a:xfrm>
            <a:off x="347134" y="4309532"/>
            <a:ext cx="537633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6F0C9E66-604B-8100-CC9A-2F25076A3960}"/>
              </a:ext>
            </a:extLst>
          </p:cNvPr>
          <p:cNvCxnSpPr>
            <a:cxnSpLocks/>
          </p:cNvCxnSpPr>
          <p:nvPr/>
        </p:nvCxnSpPr>
        <p:spPr>
          <a:xfrm>
            <a:off x="7509934" y="4018395"/>
            <a:ext cx="319193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3894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BE43D7-D5AE-E810-DDBB-29B7FF08C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D82F267-7A3A-9C79-4207-111227B3C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576" y="133754"/>
            <a:ext cx="4150790" cy="957942"/>
          </a:xfrm>
        </p:spPr>
        <p:txBody>
          <a:bodyPr>
            <a:normAutofit fontScale="90000"/>
          </a:bodyPr>
          <a:lstStyle/>
          <a:p>
            <a:r>
              <a:rPr lang="en-US" altLang="ja-JP" dirty="0"/>
              <a:t>How to write test scripts</a:t>
            </a:r>
            <a:endParaRPr kumimoji="1" lang="ja-JP" altLang="en-US" dirty="0"/>
          </a:p>
        </p:txBody>
      </p:sp>
      <p:pic>
        <p:nvPicPr>
          <p:cNvPr id="1026" name="Picture 2" descr="valivali">
            <a:extLst>
              <a:ext uri="{FF2B5EF4-FFF2-40B4-BE49-F238E27FC236}">
                <a16:creationId xmlns:a16="http://schemas.microsoft.com/office/drawing/2014/main" id="{D5808F9B-DB60-F5EB-AD06-D4296DA120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766" y="-7787"/>
            <a:ext cx="1023787" cy="102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6B59819-E211-6B13-0F9D-FC4380BE03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667" y="1366405"/>
            <a:ext cx="4999153" cy="2651990"/>
          </a:xfrm>
          <a:prstGeom prst="rect">
            <a:avLst/>
          </a:prstGeom>
        </p:spPr>
      </p:pic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C8DB4709-85B6-9EAD-6BD4-52D531F5E302}"/>
              </a:ext>
            </a:extLst>
          </p:cNvPr>
          <p:cNvCxnSpPr/>
          <p:nvPr/>
        </p:nvCxnSpPr>
        <p:spPr>
          <a:xfrm flipV="1">
            <a:off x="2082800" y="1261533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4">
            <a:extLst>
              <a:ext uri="{FF2B5EF4-FFF2-40B4-BE49-F238E27FC236}">
                <a16:creationId xmlns:a16="http://schemas.microsoft.com/office/drawing/2014/main" id="{3EE8F5DF-2706-D6D3-E9D4-E5359993AA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401" y="451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9399386D-87E6-8B7C-2A38-DED95C6671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6801" y="1975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FA2EBD80-DA91-018A-75AE-742B7632B2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9201" y="3499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図 25">
            <a:extLst>
              <a:ext uri="{FF2B5EF4-FFF2-40B4-BE49-F238E27FC236}">
                <a16:creationId xmlns:a16="http://schemas.microsoft.com/office/drawing/2014/main" id="{C8CC9ED7-9C7D-78A7-A73C-7B321BE57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6179" y="425508"/>
            <a:ext cx="5765821" cy="2791098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7" name="直線矢印コネクタ 26">
            <a:extLst>
              <a:ext uri="{FF2B5EF4-FFF2-40B4-BE49-F238E27FC236}">
                <a16:creationId xmlns:a16="http://schemas.microsoft.com/office/drawing/2014/main" id="{9FC8D635-C0BF-40AB-3D5B-F0F02A33A806}"/>
              </a:ext>
            </a:extLst>
          </p:cNvPr>
          <p:cNvCxnSpPr/>
          <p:nvPr/>
        </p:nvCxnSpPr>
        <p:spPr>
          <a:xfrm flipV="1">
            <a:off x="2040467" y="1507066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直線矢印コネクタ 27">
            <a:extLst>
              <a:ext uri="{FF2B5EF4-FFF2-40B4-BE49-F238E27FC236}">
                <a16:creationId xmlns:a16="http://schemas.microsoft.com/office/drawing/2014/main" id="{615D2E3C-99B9-F34A-8497-77619AF6BFF7}"/>
              </a:ext>
            </a:extLst>
          </p:cNvPr>
          <p:cNvCxnSpPr/>
          <p:nvPr/>
        </p:nvCxnSpPr>
        <p:spPr>
          <a:xfrm flipV="1">
            <a:off x="2040467" y="1786608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直線矢印コネクタ 29">
            <a:extLst>
              <a:ext uri="{FF2B5EF4-FFF2-40B4-BE49-F238E27FC236}">
                <a16:creationId xmlns:a16="http://schemas.microsoft.com/office/drawing/2014/main" id="{22B3E6EC-C246-C4BC-9C52-062E489D4C94}"/>
              </a:ext>
            </a:extLst>
          </p:cNvPr>
          <p:cNvCxnSpPr/>
          <p:nvPr/>
        </p:nvCxnSpPr>
        <p:spPr>
          <a:xfrm flipV="1">
            <a:off x="2036234" y="2040366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線矢印コネクタ 30">
            <a:extLst>
              <a:ext uri="{FF2B5EF4-FFF2-40B4-BE49-F238E27FC236}">
                <a16:creationId xmlns:a16="http://schemas.microsoft.com/office/drawing/2014/main" id="{B79337AC-B230-CF83-6007-E0210AF9E191}"/>
              </a:ext>
            </a:extLst>
          </p:cNvPr>
          <p:cNvCxnSpPr/>
          <p:nvPr/>
        </p:nvCxnSpPr>
        <p:spPr>
          <a:xfrm flipV="1">
            <a:off x="2032001" y="2286101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図 3">
            <a:extLst>
              <a:ext uri="{FF2B5EF4-FFF2-40B4-BE49-F238E27FC236}">
                <a16:creationId xmlns:a16="http://schemas.microsoft.com/office/drawing/2014/main" id="{5C731A63-60B7-EA84-A406-1C0006EC35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179" y="3877674"/>
            <a:ext cx="5765821" cy="27910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939A35DD-E278-47FA-4411-43729BDCF940}"/>
              </a:ext>
            </a:extLst>
          </p:cNvPr>
          <p:cNvSpPr txBox="1">
            <a:spLocks/>
          </p:cNvSpPr>
          <p:nvPr/>
        </p:nvSpPr>
        <p:spPr>
          <a:xfrm>
            <a:off x="7097176" y="3363448"/>
            <a:ext cx="4999153" cy="1557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Load {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}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Set up </a:t>
            </a:r>
            <a:r>
              <a:rPr lang="en-US" altLang="ja-JP" sz="1800" dirty="0" err="1">
                <a:highlight>
                  <a:srgbClr val="FFFF00"/>
                </a:highlight>
              </a:rPr>
              <a:t>libname</a:t>
            </a:r>
            <a:r>
              <a:rPr lang="en-US" altLang="ja-JP" sz="1800" dirty="0">
                <a:highlight>
                  <a:srgbClr val="FFFF00"/>
                </a:highlight>
              </a:rPr>
              <a:t> (can use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)</a:t>
            </a:r>
          </a:p>
          <a:p>
            <a:pPr marL="342900" indent="-342900">
              <a:buAutoNum type="arabicPeriod"/>
            </a:pPr>
            <a:r>
              <a:rPr lang="en-US" altLang="ja-JP" sz="1800" dirty="0"/>
              <a:t>Create your test contents</a:t>
            </a:r>
            <a:br>
              <a:rPr lang="en-US" altLang="ja-JP" sz="1800" dirty="0"/>
            </a:br>
            <a:r>
              <a:rPr lang="en-US" altLang="ja-JP" sz="1800" dirty="0"/>
              <a:t>(e.g. expected data and test data)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Use assert macros in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endParaRPr lang="ja-JP" altLang="en-US" sz="1800" dirty="0">
              <a:highlight>
                <a:srgbClr val="FFFF00"/>
              </a:highlight>
            </a:endParaRPr>
          </a:p>
        </p:txBody>
      </p:sp>
      <p:sp>
        <p:nvSpPr>
          <p:cNvPr id="6" name="吹き出し: 四角形 5">
            <a:extLst>
              <a:ext uri="{FF2B5EF4-FFF2-40B4-BE49-F238E27FC236}">
                <a16:creationId xmlns:a16="http://schemas.microsoft.com/office/drawing/2014/main" id="{0F93C61C-391C-9A2A-72FC-91F1A5C08485}"/>
              </a:ext>
            </a:extLst>
          </p:cNvPr>
          <p:cNvSpPr/>
          <p:nvPr/>
        </p:nvSpPr>
        <p:spPr>
          <a:xfrm>
            <a:off x="6968068" y="5273223"/>
            <a:ext cx="4216399" cy="968720"/>
          </a:xfrm>
          <a:prstGeom prst="wedgeRectCallout">
            <a:avLst>
              <a:gd name="adj1" fmla="val -82116"/>
              <a:gd name="adj2" fmla="val -138772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%</a:t>
            </a:r>
            <a:r>
              <a:rPr lang="en-US" altLang="ja-JP" dirty="0" err="1"/>
              <a:t>set_tmp_lib</a:t>
            </a:r>
            <a:r>
              <a:rPr lang="en-US" altLang="ja-JP" dirty="0"/>
              <a:t> is a very small macro to create </a:t>
            </a:r>
            <a:r>
              <a:rPr lang="en-US" altLang="ja-JP" dirty="0" err="1"/>
              <a:t>libname</a:t>
            </a:r>
            <a:r>
              <a:rPr lang="en-US" altLang="ja-JP" dirty="0"/>
              <a:t> for Windows/Linux. You may or may not use.</a:t>
            </a:r>
            <a:endParaRPr lang="ja-JP" altLang="en-US" dirty="0"/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E53B46BE-0864-67EF-4528-BC5A2D705A99}"/>
              </a:ext>
            </a:extLst>
          </p:cNvPr>
          <p:cNvCxnSpPr>
            <a:cxnSpLocks/>
          </p:cNvCxnSpPr>
          <p:nvPr/>
        </p:nvCxnSpPr>
        <p:spPr>
          <a:xfrm>
            <a:off x="347134" y="4309532"/>
            <a:ext cx="537633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30083F8D-F94E-7BBE-A7B6-C05E4819C828}"/>
              </a:ext>
            </a:extLst>
          </p:cNvPr>
          <p:cNvCxnSpPr>
            <a:cxnSpLocks/>
          </p:cNvCxnSpPr>
          <p:nvPr/>
        </p:nvCxnSpPr>
        <p:spPr>
          <a:xfrm>
            <a:off x="7509934" y="4018395"/>
            <a:ext cx="319193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094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609A7-1BE2-4FDE-414F-BBF91B9768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FEC3445E-3A07-5537-44ED-60C20A442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9416" y="5133296"/>
            <a:ext cx="5657878" cy="1417153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B62FB5E1-0B88-FB01-6C6E-D9875BF66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576" y="133754"/>
            <a:ext cx="4150790" cy="957942"/>
          </a:xfrm>
        </p:spPr>
        <p:txBody>
          <a:bodyPr>
            <a:normAutofit fontScale="90000"/>
          </a:bodyPr>
          <a:lstStyle/>
          <a:p>
            <a:r>
              <a:rPr lang="en-US" altLang="ja-JP" dirty="0"/>
              <a:t>How to write test scripts</a:t>
            </a:r>
            <a:endParaRPr kumimoji="1" lang="ja-JP" altLang="en-US" dirty="0"/>
          </a:p>
        </p:txBody>
      </p:sp>
      <p:pic>
        <p:nvPicPr>
          <p:cNvPr id="1026" name="Picture 2" descr="valivali">
            <a:extLst>
              <a:ext uri="{FF2B5EF4-FFF2-40B4-BE49-F238E27FC236}">
                <a16:creationId xmlns:a16="http://schemas.microsoft.com/office/drawing/2014/main" id="{44CF951D-9091-90CF-C285-BE1F0286A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766" y="-7787"/>
            <a:ext cx="1023787" cy="102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72EF36B3-3847-1958-317C-86EB5ECCC6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667" y="1366405"/>
            <a:ext cx="4999153" cy="2651990"/>
          </a:xfrm>
          <a:prstGeom prst="rect">
            <a:avLst/>
          </a:prstGeom>
        </p:spPr>
      </p:pic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09C88CC7-08AA-491C-7E27-9953BDC13ABE}"/>
              </a:ext>
            </a:extLst>
          </p:cNvPr>
          <p:cNvCxnSpPr/>
          <p:nvPr/>
        </p:nvCxnSpPr>
        <p:spPr>
          <a:xfrm flipV="1">
            <a:off x="2082800" y="1261533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4">
            <a:extLst>
              <a:ext uri="{FF2B5EF4-FFF2-40B4-BE49-F238E27FC236}">
                <a16:creationId xmlns:a16="http://schemas.microsoft.com/office/drawing/2014/main" id="{227D2C13-2DA9-133C-FDF1-7ACF1DACE3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4401" y="451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61837322-B155-BF62-B21C-936306C43F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6801" y="1975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6DFB864E-8D77-A3FC-B993-A53A67283E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9201" y="349935"/>
            <a:ext cx="4785775" cy="23166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図 25">
            <a:extLst>
              <a:ext uri="{FF2B5EF4-FFF2-40B4-BE49-F238E27FC236}">
                <a16:creationId xmlns:a16="http://schemas.microsoft.com/office/drawing/2014/main" id="{05B9AE76-46A4-CF88-A1FA-1C0A012687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6179" y="425508"/>
            <a:ext cx="5765821" cy="2791098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7" name="直線矢印コネクタ 26">
            <a:extLst>
              <a:ext uri="{FF2B5EF4-FFF2-40B4-BE49-F238E27FC236}">
                <a16:creationId xmlns:a16="http://schemas.microsoft.com/office/drawing/2014/main" id="{B601B5F1-D182-AC66-F6F3-E89548FC8EB6}"/>
              </a:ext>
            </a:extLst>
          </p:cNvPr>
          <p:cNvCxnSpPr/>
          <p:nvPr/>
        </p:nvCxnSpPr>
        <p:spPr>
          <a:xfrm flipV="1">
            <a:off x="2040467" y="1507066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直線矢印コネクタ 27">
            <a:extLst>
              <a:ext uri="{FF2B5EF4-FFF2-40B4-BE49-F238E27FC236}">
                <a16:creationId xmlns:a16="http://schemas.microsoft.com/office/drawing/2014/main" id="{034DE754-E1E8-D45A-0C7D-2A87E7099A2D}"/>
              </a:ext>
            </a:extLst>
          </p:cNvPr>
          <p:cNvCxnSpPr/>
          <p:nvPr/>
        </p:nvCxnSpPr>
        <p:spPr>
          <a:xfrm flipV="1">
            <a:off x="2040467" y="1786608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直線矢印コネクタ 29">
            <a:extLst>
              <a:ext uri="{FF2B5EF4-FFF2-40B4-BE49-F238E27FC236}">
                <a16:creationId xmlns:a16="http://schemas.microsoft.com/office/drawing/2014/main" id="{58ECC83A-42B1-DFC8-59BB-8D200AB77834}"/>
              </a:ext>
            </a:extLst>
          </p:cNvPr>
          <p:cNvCxnSpPr/>
          <p:nvPr/>
        </p:nvCxnSpPr>
        <p:spPr>
          <a:xfrm flipV="1">
            <a:off x="2036234" y="2040366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線矢印コネクタ 30">
            <a:extLst>
              <a:ext uri="{FF2B5EF4-FFF2-40B4-BE49-F238E27FC236}">
                <a16:creationId xmlns:a16="http://schemas.microsoft.com/office/drawing/2014/main" id="{86C71189-7AB0-5E7B-769A-5FA01898A693}"/>
              </a:ext>
            </a:extLst>
          </p:cNvPr>
          <p:cNvCxnSpPr/>
          <p:nvPr/>
        </p:nvCxnSpPr>
        <p:spPr>
          <a:xfrm flipV="1">
            <a:off x="2032001" y="2286101"/>
            <a:ext cx="3852333" cy="12530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図 3">
            <a:extLst>
              <a:ext uri="{FF2B5EF4-FFF2-40B4-BE49-F238E27FC236}">
                <a16:creationId xmlns:a16="http://schemas.microsoft.com/office/drawing/2014/main" id="{6C21DD80-0600-99C7-6252-3039F0AAF0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179" y="3877674"/>
            <a:ext cx="5765821" cy="27910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C1C6792B-B646-A811-D13E-65097FC297F1}"/>
              </a:ext>
            </a:extLst>
          </p:cNvPr>
          <p:cNvSpPr txBox="1">
            <a:spLocks/>
          </p:cNvSpPr>
          <p:nvPr/>
        </p:nvSpPr>
        <p:spPr>
          <a:xfrm>
            <a:off x="7097176" y="3363448"/>
            <a:ext cx="4999153" cy="1557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Load {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}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Set up </a:t>
            </a:r>
            <a:r>
              <a:rPr lang="en-US" altLang="ja-JP" sz="1800" dirty="0" err="1">
                <a:highlight>
                  <a:srgbClr val="FFFF00"/>
                </a:highlight>
              </a:rPr>
              <a:t>libname</a:t>
            </a:r>
            <a:r>
              <a:rPr lang="en-US" altLang="ja-JP" sz="1800" dirty="0">
                <a:highlight>
                  <a:srgbClr val="FFFF00"/>
                </a:highlight>
              </a:rPr>
              <a:t> (can use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)</a:t>
            </a:r>
          </a:p>
          <a:p>
            <a:pPr marL="342900" indent="-342900">
              <a:buAutoNum type="arabicPeriod"/>
            </a:pPr>
            <a:r>
              <a:rPr lang="en-US" altLang="ja-JP" sz="1800" dirty="0"/>
              <a:t>Create your test contents</a:t>
            </a:r>
            <a:br>
              <a:rPr lang="en-US" altLang="ja-JP" sz="1800" dirty="0"/>
            </a:br>
            <a:r>
              <a:rPr lang="en-US" altLang="ja-JP" sz="1800" dirty="0"/>
              <a:t>(e.g. expected data and test data)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Use assert macros in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endParaRPr lang="ja-JP" altLang="en-US" sz="1800" dirty="0">
              <a:highlight>
                <a:srgbClr val="FFFF00"/>
              </a:highlight>
            </a:endParaRPr>
          </a:p>
        </p:txBody>
      </p:sp>
      <p:sp>
        <p:nvSpPr>
          <p:cNvPr id="6" name="吹き出し: 四角形 5">
            <a:extLst>
              <a:ext uri="{FF2B5EF4-FFF2-40B4-BE49-F238E27FC236}">
                <a16:creationId xmlns:a16="http://schemas.microsoft.com/office/drawing/2014/main" id="{E8DA9B09-2379-9815-9BAB-F41A0EA2A6F9}"/>
              </a:ext>
            </a:extLst>
          </p:cNvPr>
          <p:cNvSpPr/>
          <p:nvPr/>
        </p:nvSpPr>
        <p:spPr>
          <a:xfrm>
            <a:off x="2770243" y="5568080"/>
            <a:ext cx="3213090" cy="1076777"/>
          </a:xfrm>
          <a:prstGeom prst="wedgeRectCallout">
            <a:avLst>
              <a:gd name="adj1" fmla="val -73630"/>
              <a:gd name="adj2" fmla="val -83949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Assertion macros generate and append record of test result to output dataset.</a:t>
            </a:r>
            <a:endParaRPr lang="ja-JP" altLang="en-US" dirty="0"/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37E20907-9057-DEDA-44CA-6E008F24C2BD}"/>
              </a:ext>
            </a:extLst>
          </p:cNvPr>
          <p:cNvCxnSpPr>
            <a:cxnSpLocks/>
          </p:cNvCxnSpPr>
          <p:nvPr/>
        </p:nvCxnSpPr>
        <p:spPr>
          <a:xfrm>
            <a:off x="389467" y="5105399"/>
            <a:ext cx="154093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0DEE7182-29E0-FA21-DF42-C860087D7552}"/>
              </a:ext>
            </a:extLst>
          </p:cNvPr>
          <p:cNvCxnSpPr>
            <a:cxnSpLocks/>
          </p:cNvCxnSpPr>
          <p:nvPr/>
        </p:nvCxnSpPr>
        <p:spPr>
          <a:xfrm>
            <a:off x="7509934" y="4780396"/>
            <a:ext cx="282786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9BC70380-D912-6EAB-B7FE-57E107F16E3B}"/>
              </a:ext>
            </a:extLst>
          </p:cNvPr>
          <p:cNvCxnSpPr>
            <a:cxnSpLocks/>
          </p:cNvCxnSpPr>
          <p:nvPr/>
        </p:nvCxnSpPr>
        <p:spPr>
          <a:xfrm>
            <a:off x="2082800" y="5020733"/>
            <a:ext cx="4224868" cy="33020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4275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AF4444-01F9-6E59-F136-D491B3A86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2DED6B-68F9-C63C-4465-DA91602CE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576" y="133754"/>
            <a:ext cx="4150790" cy="957942"/>
          </a:xfrm>
        </p:spPr>
        <p:txBody>
          <a:bodyPr>
            <a:normAutofit fontScale="90000"/>
          </a:bodyPr>
          <a:lstStyle/>
          <a:p>
            <a:r>
              <a:rPr lang="en-US" altLang="ja-JP" dirty="0"/>
              <a:t>How to create report</a:t>
            </a:r>
            <a:endParaRPr kumimoji="1" lang="ja-JP" altLang="en-US" dirty="0"/>
          </a:p>
        </p:txBody>
      </p:sp>
      <p:pic>
        <p:nvPicPr>
          <p:cNvPr id="1026" name="Picture 2" descr="valivali">
            <a:extLst>
              <a:ext uri="{FF2B5EF4-FFF2-40B4-BE49-F238E27FC236}">
                <a16:creationId xmlns:a16="http://schemas.microsoft.com/office/drawing/2014/main" id="{F820E7D9-4320-730A-94ED-101994AF48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766" y="-7787"/>
            <a:ext cx="1023787" cy="102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6F2AE4E1-9DAF-39CC-FD2C-2C6BA2C503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667" y="1366405"/>
            <a:ext cx="4999153" cy="2651990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537BD30F-01AC-727A-4995-229900E7261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8318" t="18395" r="21373" b="26423"/>
          <a:stretch>
            <a:fillRect/>
          </a:stretch>
        </p:blipFill>
        <p:spPr>
          <a:xfrm>
            <a:off x="5743953" y="792414"/>
            <a:ext cx="5706533" cy="3912078"/>
          </a:xfrm>
          <a:prstGeom prst="rect">
            <a:avLst/>
          </a:prstGeom>
        </p:spPr>
      </p:pic>
      <p:cxnSp>
        <p:nvCxnSpPr>
          <p:cNvPr id="4" name="直線コネクタ 3">
            <a:extLst>
              <a:ext uri="{FF2B5EF4-FFF2-40B4-BE49-F238E27FC236}">
                <a16:creationId xmlns:a16="http://schemas.microsoft.com/office/drawing/2014/main" id="{5CD9BFBA-8124-D634-A795-2E338763B87A}"/>
              </a:ext>
            </a:extLst>
          </p:cNvPr>
          <p:cNvCxnSpPr>
            <a:cxnSpLocks/>
          </p:cNvCxnSpPr>
          <p:nvPr/>
        </p:nvCxnSpPr>
        <p:spPr>
          <a:xfrm>
            <a:off x="389467" y="3816544"/>
            <a:ext cx="119380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吹き出し: 四角形 5">
            <a:extLst>
              <a:ext uri="{FF2B5EF4-FFF2-40B4-BE49-F238E27FC236}">
                <a16:creationId xmlns:a16="http://schemas.microsoft.com/office/drawing/2014/main" id="{EE9BD93B-343C-A73F-70E1-3F4693387EEF}"/>
              </a:ext>
            </a:extLst>
          </p:cNvPr>
          <p:cNvSpPr/>
          <p:nvPr/>
        </p:nvSpPr>
        <p:spPr>
          <a:xfrm>
            <a:off x="448725" y="4123771"/>
            <a:ext cx="3213090" cy="1076777"/>
          </a:xfrm>
          <a:prstGeom prst="wedgeRectCallout">
            <a:avLst>
              <a:gd name="adj1" fmla="val -41405"/>
              <a:gd name="adj2" fmla="val -66234"/>
            </a:avLst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dirty="0"/>
              <a:t>Create report at last.</a:t>
            </a:r>
          </a:p>
          <a:p>
            <a:pPr algn="ctr"/>
            <a:r>
              <a:rPr lang="en-US" altLang="ja-JP" dirty="0"/>
              <a:t>(zzz is to run it lastly)</a:t>
            </a:r>
            <a:endParaRPr lang="ja-JP" altLang="en-US" dirty="0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129E2AF5-A004-5357-7C1A-762CD9D063EC}"/>
              </a:ext>
            </a:extLst>
          </p:cNvPr>
          <p:cNvSpPr txBox="1">
            <a:spLocks/>
          </p:cNvSpPr>
          <p:nvPr/>
        </p:nvSpPr>
        <p:spPr>
          <a:xfrm>
            <a:off x="6182776" y="5090648"/>
            <a:ext cx="4019557" cy="1557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Load {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}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Set up </a:t>
            </a:r>
            <a:r>
              <a:rPr lang="en-US" altLang="ja-JP" sz="1800" dirty="0" err="1">
                <a:highlight>
                  <a:srgbClr val="FFFF00"/>
                </a:highlight>
              </a:rPr>
              <a:t>libname</a:t>
            </a:r>
            <a:r>
              <a:rPr lang="en-US" altLang="ja-JP" sz="1800" dirty="0">
                <a:highlight>
                  <a:srgbClr val="FFFF00"/>
                </a:highlight>
              </a:rPr>
              <a:t> (can use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r>
              <a:rPr lang="en-US" altLang="ja-JP" sz="1800" dirty="0">
                <a:highlight>
                  <a:srgbClr val="FFFF00"/>
                </a:highlight>
              </a:rPr>
              <a:t>)</a:t>
            </a:r>
          </a:p>
          <a:p>
            <a:pPr marL="342900" indent="-342900">
              <a:buAutoNum type="arabicPeriod"/>
            </a:pPr>
            <a:r>
              <a:rPr lang="en-US" altLang="ja-JP" sz="1800" dirty="0">
                <a:highlight>
                  <a:srgbClr val="FFFF00"/>
                </a:highlight>
              </a:rPr>
              <a:t>Use %</a:t>
            </a:r>
            <a:r>
              <a:rPr lang="en-US" altLang="ja-JP" sz="1800" dirty="0" err="1">
                <a:highlight>
                  <a:srgbClr val="FFFF00"/>
                </a:highlight>
              </a:rPr>
              <a:t>create_report</a:t>
            </a:r>
            <a:r>
              <a:rPr lang="en-US" altLang="ja-JP" sz="1800" dirty="0">
                <a:highlight>
                  <a:srgbClr val="FFFF00"/>
                </a:highlight>
              </a:rPr>
              <a:t> in </a:t>
            </a:r>
            <a:r>
              <a:rPr lang="en-US" altLang="ja-JP" sz="1800" dirty="0" err="1">
                <a:highlight>
                  <a:srgbClr val="FFFF00"/>
                </a:highlight>
              </a:rPr>
              <a:t>valivali</a:t>
            </a:r>
            <a:endParaRPr lang="ja-JP" altLang="en-US" sz="1800" dirty="0">
              <a:highlight>
                <a:srgbClr val="FFFF00"/>
              </a:highlight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E1C7E728-306B-07F7-7F46-F3265E8B2042}"/>
              </a:ext>
            </a:extLst>
          </p:cNvPr>
          <p:cNvCxnSpPr>
            <a:cxnSpLocks/>
          </p:cNvCxnSpPr>
          <p:nvPr/>
        </p:nvCxnSpPr>
        <p:spPr>
          <a:xfrm flipV="1">
            <a:off x="1654553" y="2861733"/>
            <a:ext cx="4001180" cy="95481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6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none" rtlCol="0" anchor="ctr"/>
      <a:lstStyle>
        <a:defPPr algn="ctr">
          <a:defRPr kumimoji="1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takeda corp revamped" id="{6C19DE83-C36E-48B7-A159-B8B002ECD066}" vid="{22874A76-D7CD-4527-9FD6-7E97D1E78830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ba1c913-3834-46f4-a0c5-fd96f14654cd">
      <Terms xmlns="http://schemas.microsoft.com/office/infopath/2007/PartnerControls"/>
    </lcf76f155ced4ddcb4097134ff3c332f>
    <TaxCatchAll xmlns="c9ac3ab4-a7cc-4b3a-aeed-dd55a233ac4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BF427431D4B1448BE8CF98B93B7DD2" ma:contentTypeVersion="18" ma:contentTypeDescription="Create a new document." ma:contentTypeScope="" ma:versionID="7e00f65772eaa6b4e2a1f3806e43c919">
  <xsd:schema xmlns:xsd="http://www.w3.org/2001/XMLSchema" xmlns:xs="http://www.w3.org/2001/XMLSchema" xmlns:p="http://schemas.microsoft.com/office/2006/metadata/properties" xmlns:ns2="0ba1c913-3834-46f4-a0c5-fd96f14654cd" xmlns:ns3="ea1b8532-76a1-4465-838b-77a68046580b" xmlns:ns4="c9ac3ab4-a7cc-4b3a-aeed-dd55a233ac4b" targetNamespace="http://schemas.microsoft.com/office/2006/metadata/properties" ma:root="true" ma:fieldsID="2f09ec59953cd912df5c7bc2dd54bc36" ns2:_="" ns3:_="" ns4:_="">
    <xsd:import namespace="0ba1c913-3834-46f4-a0c5-fd96f14654cd"/>
    <xsd:import namespace="ea1b8532-76a1-4465-838b-77a68046580b"/>
    <xsd:import namespace="c9ac3ab4-a7cc-4b3a-aeed-dd55a233ac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a1c913-3834-46f4-a0c5-fd96f14654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37bc47b-3997-4ccb-824d-08e9c3bde3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1b8532-76a1-4465-838b-77a68046580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ac3ab4-a7cc-4b3a-aeed-dd55a233ac4b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44f690fa-f7d0-4d03-8954-c78cdcdcc3fb}" ma:internalName="TaxCatchAll" ma:showField="CatchAllData" ma:web="ea1b8532-76a1-4465-838b-77a6804658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84910E8-3165-4A92-A2C0-BA084E436603}">
  <ds:schemaRefs>
    <ds:schemaRef ds:uri="http://schemas.microsoft.com/office/2006/metadata/properties"/>
    <ds:schemaRef ds:uri="http://schemas.microsoft.com/office/infopath/2007/PartnerControls"/>
    <ds:schemaRef ds:uri="0ba1c913-3834-46f4-a0c5-fd96f14654cd"/>
    <ds:schemaRef ds:uri="c9ac3ab4-a7cc-4b3a-aeed-dd55a233ac4b"/>
  </ds:schemaRefs>
</ds:datastoreItem>
</file>

<file path=customXml/itemProps2.xml><?xml version="1.0" encoding="utf-8"?>
<ds:datastoreItem xmlns:ds="http://schemas.openxmlformats.org/officeDocument/2006/customXml" ds:itemID="{B2AF5C40-F88B-4CE9-80B2-DBB2CD811C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79E13B-68A0-4D2A-A401-A96A0B039F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a1c913-3834-46f4-a0c5-fd96f14654cd"/>
    <ds:schemaRef ds:uri="ea1b8532-76a1-4465-838b-77a68046580b"/>
    <ds:schemaRef ds:uri="c9ac3ab4-a7cc-4b3a-aeed-dd55a233ac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23</TotalTime>
  <Words>517</Words>
  <Application>Microsoft Office PowerPoint</Application>
  <PresentationFormat>ワイド画面</PresentationFormat>
  <Paragraphs>50</Paragraphs>
  <Slides>1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1</vt:i4>
      </vt:variant>
    </vt:vector>
  </HeadingPairs>
  <TitlesOfParts>
    <vt:vector size="18" baseType="lpstr">
      <vt:lpstr>游ゴシック</vt:lpstr>
      <vt:lpstr>游ゴシック Light</vt:lpstr>
      <vt:lpstr>Arial</vt:lpstr>
      <vt:lpstr>Calibri</vt:lpstr>
      <vt:lpstr>Office テーマ</vt:lpstr>
      <vt:lpstr>1_Takeda Slide Master</vt:lpstr>
      <vt:lpstr>think-cell Slide</vt:lpstr>
      <vt:lpstr>How to use Valivali  - Overall test flow in %generatePackage()  - How to write test script - How to create report</vt:lpstr>
      <vt:lpstr>Test flow in SPF (done in %generatePackage)</vt:lpstr>
      <vt:lpstr>Test flow in SPF</vt:lpstr>
      <vt:lpstr>Test flow in SPF</vt:lpstr>
      <vt:lpstr>Test flow in SPF</vt:lpstr>
      <vt:lpstr>How to write test scripts</vt:lpstr>
      <vt:lpstr>How to write test scripts</vt:lpstr>
      <vt:lpstr>How to write test scripts</vt:lpstr>
      <vt:lpstr>How to create report</vt:lpstr>
      <vt:lpstr>PowerPoint プレゼンテーション</vt:lpstr>
      <vt:lpstr>Grap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S Package</dc:title>
  <dc:creator>Nakaya, Ryou</dc:creator>
  <cp:lastModifiedBy>Nakaya, Ryou</cp:lastModifiedBy>
  <cp:revision>127</cp:revision>
  <dcterms:created xsi:type="dcterms:W3CDTF">2025-04-03T13:05:58Z</dcterms:created>
  <dcterms:modified xsi:type="dcterms:W3CDTF">2025-11-23T03:4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BF427431D4B1448BE8CF98B93B7DD2</vt:lpwstr>
  </property>
  <property fmtid="{D5CDD505-2E9C-101B-9397-08002B2CF9AE}" pid="3" name="MediaServiceImageTags">
    <vt:lpwstr/>
  </property>
</Properties>
</file>